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2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3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4.xml" ContentType="application/vnd.openxmlformats-officedocument.presentationml.notesSlide+xml"/>
  <Override PartName="/ppt/tags/tag1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2"/>
  </p:notesMasterIdLst>
  <p:handoutMasterIdLst>
    <p:handoutMasterId r:id="rId63"/>
  </p:handoutMasterIdLst>
  <p:sldIdLst>
    <p:sldId id="285" r:id="rId2"/>
    <p:sldId id="286" r:id="rId3"/>
    <p:sldId id="287" r:id="rId4"/>
    <p:sldId id="288" r:id="rId5"/>
    <p:sldId id="290" r:id="rId6"/>
    <p:sldId id="291" r:id="rId7"/>
    <p:sldId id="292" r:id="rId8"/>
    <p:sldId id="293" r:id="rId9"/>
    <p:sldId id="323" r:id="rId10"/>
    <p:sldId id="294" r:id="rId11"/>
    <p:sldId id="353" r:id="rId12"/>
    <p:sldId id="296" r:id="rId13"/>
    <p:sldId id="295" r:id="rId14"/>
    <p:sldId id="297" r:id="rId15"/>
    <p:sldId id="298" r:id="rId16"/>
    <p:sldId id="299" r:id="rId17"/>
    <p:sldId id="300" r:id="rId18"/>
    <p:sldId id="301" r:id="rId19"/>
    <p:sldId id="312" r:id="rId20"/>
    <p:sldId id="313" r:id="rId21"/>
    <p:sldId id="352" r:id="rId22"/>
    <p:sldId id="324" r:id="rId23"/>
    <p:sldId id="325" r:id="rId24"/>
    <p:sldId id="326" r:id="rId25"/>
    <p:sldId id="327" r:id="rId26"/>
    <p:sldId id="328" r:id="rId27"/>
    <p:sldId id="329" r:id="rId28"/>
    <p:sldId id="330" r:id="rId29"/>
    <p:sldId id="331" r:id="rId30"/>
    <p:sldId id="332" r:id="rId31"/>
    <p:sldId id="333" r:id="rId32"/>
    <p:sldId id="334" r:id="rId33"/>
    <p:sldId id="335" r:id="rId34"/>
    <p:sldId id="336" r:id="rId35"/>
    <p:sldId id="338" r:id="rId36"/>
    <p:sldId id="339" r:id="rId37"/>
    <p:sldId id="340" r:id="rId38"/>
    <p:sldId id="341" r:id="rId39"/>
    <p:sldId id="342" r:id="rId40"/>
    <p:sldId id="343" r:id="rId41"/>
    <p:sldId id="344" r:id="rId42"/>
    <p:sldId id="345" r:id="rId43"/>
    <p:sldId id="346" r:id="rId44"/>
    <p:sldId id="347" r:id="rId45"/>
    <p:sldId id="348" r:id="rId46"/>
    <p:sldId id="349" r:id="rId47"/>
    <p:sldId id="302" r:id="rId48"/>
    <p:sldId id="303" r:id="rId49"/>
    <p:sldId id="304" r:id="rId50"/>
    <p:sldId id="305" r:id="rId51"/>
    <p:sldId id="350" r:id="rId52"/>
    <p:sldId id="306" r:id="rId53"/>
    <p:sldId id="319" r:id="rId54"/>
    <p:sldId id="320" r:id="rId55"/>
    <p:sldId id="309" r:id="rId56"/>
    <p:sldId id="310" r:id="rId57"/>
    <p:sldId id="351" r:id="rId58"/>
    <p:sldId id="321" r:id="rId59"/>
    <p:sldId id="322" r:id="rId60"/>
    <p:sldId id="256" r:id="rId61"/>
  </p:sldIdLst>
  <p:sldSz cx="12193588" cy="6858000"/>
  <p:notesSz cx="7559675" cy="10691813"/>
  <p:custDataLst>
    <p:tags r:id="rId6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Folien" id="{BA370EFF-9A8D-4C93-A91E-E91B27CE810A}">
          <p14:sldIdLst>
            <p14:sldId id="285"/>
            <p14:sldId id="286"/>
            <p14:sldId id="287"/>
            <p14:sldId id="288"/>
            <p14:sldId id="290"/>
            <p14:sldId id="291"/>
            <p14:sldId id="292"/>
            <p14:sldId id="293"/>
            <p14:sldId id="323"/>
            <p14:sldId id="294"/>
            <p14:sldId id="353"/>
            <p14:sldId id="296"/>
            <p14:sldId id="295"/>
            <p14:sldId id="297"/>
            <p14:sldId id="298"/>
            <p14:sldId id="299"/>
            <p14:sldId id="300"/>
            <p14:sldId id="301"/>
            <p14:sldId id="312"/>
            <p14:sldId id="313"/>
            <p14:sldId id="352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02"/>
            <p14:sldId id="303"/>
            <p14:sldId id="304"/>
            <p14:sldId id="305"/>
            <p14:sldId id="350"/>
            <p14:sldId id="306"/>
            <p14:sldId id="319"/>
            <p14:sldId id="320"/>
            <p14:sldId id="309"/>
            <p14:sldId id="310"/>
            <p14:sldId id="351"/>
            <p14:sldId id="321"/>
            <p14:sldId id="322"/>
            <p14:sldId id="256"/>
          </p14:sldIdLst>
        </p14:section>
        <p14:section name="Weitere Folien" id="{DB60F583-B12D-4121-8BAE-4EFC26CACC81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748"/>
    <a:srgbClr val="660E7A"/>
    <a:srgbClr val="010180"/>
    <a:srgbClr val="85850C"/>
    <a:srgbClr val="000000"/>
    <a:srgbClr val="3C3C3C"/>
    <a:srgbClr val="A08570"/>
    <a:srgbClr val="E4E3DF"/>
    <a:srgbClr val="48323E"/>
    <a:srgbClr val="D3C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9" autoAdjust="0"/>
    <p:restoredTop sz="94660"/>
  </p:normalViewPr>
  <p:slideViewPr>
    <p:cSldViewPr snapToGrid="0" snapToObjects="1" showGuides="1">
      <p:cViewPr varScale="1">
        <p:scale>
          <a:sx n="102" d="100"/>
          <a:sy n="102" d="100"/>
        </p:scale>
        <p:origin x="82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0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CD808BD-3A87-4FB1-8C92-7568F36AF77A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2ABE4B-4B6F-439D-858C-380578034C2C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32335C-B6EF-4E53-B1EC-53BDF719DC0D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6E1656-EF6C-4EBC-A18C-AB04D7BA6929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>
            <a:noFill/>
          </a:ln>
        </p:spPr>
        <p:txBody>
          <a:bodyPr vert="horz" lIns="90000" tIns="45000" rIns="90000" bIns="45000" anchor="b" compatLnSpc="1">
            <a:noAutofit/>
          </a:bodyPr>
          <a:lstStyle/>
          <a:p>
            <a: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sz="1400"/>
            </a:pPr>
            <a:fld id="{150629FE-4BFD-4F00-BF85-38DE1BF02178}" type="slidenum">
              <a:t>‹Nr.›</a:t>
            </a:fld>
            <a:endParaRPr lang="de-DE" sz="14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</p:spTree>
    <p:extLst>
      <p:ext uri="{BB962C8B-B14F-4D97-AF65-F5344CB8AC3E}">
        <p14:creationId xmlns:p14="http://schemas.microsoft.com/office/powerpoint/2010/main" val="159975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A08103F-5E62-4C14-B403-CCA08D9B8341}"/>
              </a:ext>
            </a:extLst>
          </p:cNvPr>
          <p:cNvSpPr>
            <a:spLocks noMove="1" noResize="1"/>
          </p:cNvSpPr>
          <p:nvPr/>
        </p:nvSpPr>
        <p:spPr>
          <a:xfrm>
            <a:off x="0" y="0"/>
            <a:ext cx="7560000" cy="10692000"/>
          </a:xfrm>
          <a:prstGeom prst="rect">
            <a:avLst/>
          </a:prstGeom>
          <a:solidFill>
            <a:srgbClr val="FFFFFF"/>
          </a:solidFill>
          <a:ln>
            <a:noFill/>
            <a:prstDash val="solid"/>
          </a:ln>
        </p:spPr>
        <p:txBody>
          <a:bodyPr vert="horz" lIns="90000" tIns="45000" rIns="90000" bIns="45000" anchor="ctr" anchorCtr="1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lienbildplatzhalter 2">
            <a:extLst>
              <a:ext uri="{FF2B5EF4-FFF2-40B4-BE49-F238E27FC236}">
                <a16:creationId xmlns:a16="http://schemas.microsoft.com/office/drawing/2014/main" id="{10D0D9F1-BA97-41FD-843C-E98805F70A8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6280" y="812880"/>
            <a:ext cx="5343480" cy="4007159"/>
          </a:xfrm>
          <a:prstGeom prst="rect">
            <a:avLst/>
          </a:prstGeom>
          <a:noFill/>
          <a:ln>
            <a:noFill/>
            <a:prstDash val="solid"/>
          </a:ln>
        </p:spPr>
      </p:sp>
      <p:sp>
        <p:nvSpPr>
          <p:cNvPr id="4" name="Notizenplatzhalter 3">
            <a:extLst>
              <a:ext uri="{FF2B5EF4-FFF2-40B4-BE49-F238E27FC236}">
                <a16:creationId xmlns:a16="http://schemas.microsoft.com/office/drawing/2014/main" id="{5961034C-7FA1-4927-BF73-8754AA0AA2FE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755280" y="5078160"/>
            <a:ext cx="6046920" cy="48103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compatLnSpc="1"/>
          <a:lstStyle/>
          <a:p>
            <a:endParaRPr lang="de-DE"/>
          </a:p>
        </p:txBody>
      </p:sp>
      <p:sp>
        <p:nvSpPr>
          <p:cNvPr id="5" name="Kopfzeilenplatzhalter 4">
            <a:extLst>
              <a:ext uri="{FF2B5EF4-FFF2-40B4-BE49-F238E27FC236}">
                <a16:creationId xmlns:a16="http://schemas.microsoft.com/office/drawing/2014/main" id="{A333E28B-0DD3-4986-AD43-2CC37FCEAD05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ED157B0-714D-4045-B183-0452B3DBD04E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4277880" y="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C2B38F-485D-484A-BA02-69908CB7159B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10156320"/>
            <a:ext cx="3279600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C484B26-C5E7-44B8-8CF9-8E8C00D8106E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4277880" y="10156320"/>
            <a:ext cx="3279959" cy="53388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1400" b="0" i="0" u="none" strike="noStrike" baseline="0">
                <a:solidFill>
                  <a:srgbClr val="000000"/>
                </a:solidFill>
                <a:latin typeface="Times New Roman" pitchFamily="18"/>
                <a:ea typeface="DejaVu Sans" pitchFamily="18"/>
                <a:cs typeface="DejaVu Sans" pitchFamily="18"/>
              </a:defRPr>
            </a:lvl1pPr>
          </a:lstStyle>
          <a:p>
            <a:pPr lvl="0"/>
            <a:fld id="{6C164411-04B2-4615-9FCF-D4F73F357CF9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rtl="0" hangingPunct="0">
      <a:lnSpc>
        <a:spcPct val="100000"/>
      </a:lnSpc>
      <a:spcBef>
        <a:spcPts val="448"/>
      </a:spcBef>
      <a:spcAft>
        <a:spcPts val="0"/>
      </a:spcAft>
      <a:tabLst>
        <a:tab pos="0" algn="l"/>
        <a:tab pos="448919" algn="l"/>
        <a:tab pos="898199" algn="l"/>
        <a:tab pos="1347480" algn="l"/>
        <a:tab pos="1796760" algn="l"/>
        <a:tab pos="2246040" algn="l"/>
        <a:tab pos="2695320" algn="l"/>
        <a:tab pos="3144600" algn="l"/>
        <a:tab pos="3593880" algn="l"/>
        <a:tab pos="4043159" algn="l"/>
        <a:tab pos="4492440" algn="l"/>
        <a:tab pos="4941719" algn="l"/>
        <a:tab pos="5391000" algn="l"/>
        <a:tab pos="5840280" algn="l"/>
        <a:tab pos="6289560" algn="l"/>
        <a:tab pos="6738840" algn="l"/>
        <a:tab pos="7188120" algn="l"/>
        <a:tab pos="7637400" algn="l"/>
        <a:tab pos="8086679" algn="l"/>
        <a:tab pos="8535960" algn="l"/>
        <a:tab pos="8985240" algn="l"/>
      </a:tabLst>
      <a:defRPr lang="de-DE" sz="1200" b="0" i="0" u="none" strike="noStrike" baseline="0">
        <a:ln>
          <a:noFill/>
        </a:ln>
        <a:solidFill>
          <a:srgbClr val="000000"/>
        </a:solidFill>
        <a:latin typeface="Times New Roman" pitchFamily="18"/>
        <a:cs typeface="Helvetica" pitchFamily="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jbywvpa9vH8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97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Oal07Ai4oT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016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098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1525" cy="400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6C164411-04B2-4615-9FCF-D4F73F357CF9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544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4543A6-537F-4089-9A3E-E7BD17CFC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51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58F9BB-37A4-4F8E-ACE4-B023CD45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D1866-871B-43A1-AE2E-1D8799457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046"/>
          <a:stretch/>
        </p:blipFill>
        <p:spPr>
          <a:xfrm>
            <a:off x="3413" y="330369"/>
            <a:ext cx="12188952" cy="6527631"/>
          </a:xfrm>
          <a:prstGeom prst="rect">
            <a:avLst/>
          </a:prstGeom>
        </p:spPr>
      </p:pic>
      <p:sp>
        <p:nvSpPr>
          <p:cNvPr id="11" name="Freihandform: Form 2">
            <a:extLst>
              <a:ext uri="{FF2B5EF4-FFF2-40B4-BE49-F238E27FC236}">
                <a16:creationId xmlns:a16="http://schemas.microsoft.com/office/drawing/2014/main" id="{59723EE7-2D9E-40C5-9DB4-01066F2C69FB}"/>
              </a:ext>
            </a:extLst>
          </p:cNvPr>
          <p:cNvSpPr/>
          <p:nvPr userDrawn="1"/>
        </p:nvSpPr>
        <p:spPr>
          <a:xfrm>
            <a:off x="0" y="-1"/>
            <a:ext cx="12193559" cy="2801073"/>
          </a:xfrm>
          <a:custGeom>
            <a:avLst>
              <a:gd name="f0" fmla="val 13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7C712E-2F70-42A6-A52D-D9653144A8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55000" y="6461761"/>
            <a:ext cx="3597910" cy="200376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9" name="Picture 8" descr="A picture containing building&#10;&#10;Description automatically generated">
            <a:extLst>
              <a:ext uri="{FF2B5EF4-FFF2-40B4-BE49-F238E27FC236}">
                <a16:creationId xmlns:a16="http://schemas.microsoft.com/office/drawing/2014/main" id="{D95D9418-0F89-4432-A265-96ECB2157CA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823" y="786066"/>
            <a:ext cx="1371942" cy="122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992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Text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04A1A60-F6CA-4327-B13E-F91E1552B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8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AE9E515-2F28-41DC-BFAE-E2DAEC28DE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130A2B9-13B3-435E-B671-552BAB16C0DB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EC02C137-EF2A-4A7F-B93D-236E35730E4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223965"/>
            <a:ext cx="12193588" cy="2740786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ggf</a:t>
            </a:r>
            <a:r>
              <a:rPr lang="en-GB" dirty="0"/>
              <a:t>. </a:t>
            </a:r>
            <a:r>
              <a:rPr lang="en-GB" dirty="0" err="1"/>
              <a:t>löschen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9FC0CC-9033-4D8A-A6BC-A002B24C0BD2}"/>
              </a:ext>
            </a:extLst>
          </p:cNvPr>
          <p:cNvGrpSpPr/>
          <p:nvPr userDrawn="1"/>
        </p:nvGrpSpPr>
        <p:grpSpPr>
          <a:xfrm>
            <a:off x="-105798" y="3964785"/>
            <a:ext cx="12465438" cy="3079164"/>
            <a:chOff x="-105798" y="3964785"/>
            <a:chExt cx="12465438" cy="3079164"/>
          </a:xfrm>
          <a:solidFill>
            <a:schemeClr val="bg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B9FC7D-7671-4359-868C-C18751149F4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C7579E3-F175-4297-A6C3-5E9519499DE0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01C1388-D348-4EFE-BB0A-2538F0008C56}"/>
                </a:ext>
              </a:extLst>
            </p:cNvPr>
            <p:cNvCxnSpPr>
              <a:stCxn id="13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184C34E-E1B6-4430-AC8C-320A45C50A02}"/>
                </a:ext>
              </a:extLst>
            </p:cNvPr>
            <p:cNvCxnSpPr>
              <a:cxnSpLocks/>
              <a:endCxn id="13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C5E628-AC25-45A9-BC32-6FB82C2DD70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D03EF75-8E6F-492B-9C80-29C114C03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3964785"/>
              <a:ext cx="1023623" cy="126581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9FCBD96-5C9A-4FCF-B7F5-23C75481F6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CCAE83F-C8C0-48C7-9BDF-8F066C3A5F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37E2913-91A6-47CD-96F6-AF7139995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3"/>
            <a:ext cx="3705542" cy="769441"/>
          </a:xfr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lang="de-DE" kern="0" dirty="0">
                <a:solidFill>
                  <a:schemeClr val="accent2"/>
                </a:solidFill>
                <a:ea typeface="+mn-ea"/>
              </a:defRPr>
            </a:lvl1pPr>
          </a:lstStyle>
          <a:p>
            <a:pPr lvl="0" defTabSz="914400" eaLnBrk="1" latinLnBrk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5728D-E669-449B-AEB3-9AC3A288A0E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AC4F1E0-5DE6-4A2B-BD02-9129EACDDD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4409954"/>
            <a:ext cx="10261600" cy="1719384"/>
          </a:xfrm>
        </p:spPr>
        <p:txBody>
          <a:bodyPr/>
          <a:lstStyle>
            <a:lvl1pPr>
              <a:defRPr sz="1800" b="0">
                <a:solidFill>
                  <a:schemeClr val="accent2"/>
                </a:solidFill>
              </a:defRPr>
            </a:lvl1pPr>
            <a:lvl2pPr>
              <a:defRPr sz="1800" b="0">
                <a:solidFill>
                  <a:schemeClr val="accent2"/>
                </a:solidFill>
              </a:defRPr>
            </a:lvl2pPr>
            <a:lvl3pPr>
              <a:defRPr sz="1800" b="0">
                <a:solidFill>
                  <a:schemeClr val="accent2"/>
                </a:solidFill>
              </a:defRPr>
            </a:lvl3pPr>
            <a:lvl4pPr>
              <a:defRPr sz="1800" b="0"/>
            </a:lvl4pPr>
            <a:lvl5pPr>
              <a:defRPr sz="1800"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202BDBF-E0F4-420D-A674-ED627E9B1DF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6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796E430-E199-42D1-B750-00CFE32E2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5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2C0A64-6206-47F9-B774-144C1A5CFA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8A3E5293-193E-4B93-B263-4B5F18B6463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223963"/>
            <a:ext cx="5400720" cy="5634037"/>
          </a:xfrm>
          <a:solidFill>
            <a:schemeClr val="accent2">
              <a:alpha val="76000"/>
            </a:schemeClr>
          </a:solidFill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F67F5-C9FB-4443-A3BF-5AD5D375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8630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EA2EC6-426A-4C23-8F5B-477952BFCF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1ABBD5B-16B2-4EE3-AEE1-1DEF4D8004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96000" y="3033713"/>
            <a:ext cx="5413338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827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2BEA0F-D748-4945-B265-C1D001BBF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956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6D9E8A8-96EC-45DC-98B9-24C93A48DE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3BFE3B-ABB1-4EA4-A211-413BCDDCD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1" y="0"/>
            <a:ext cx="1218897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53EF863-8B2B-47E2-B003-6FE342397862}"/>
              </a:ext>
            </a:extLst>
          </p:cNvPr>
          <p:cNvSpPr txBox="1">
            <a:spLocks/>
          </p:cNvSpPr>
          <p:nvPr userDrawn="1"/>
        </p:nvSpPr>
        <p:spPr>
          <a:xfrm>
            <a:off x="947738" y="3565463"/>
            <a:ext cx="10261600" cy="3077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bg1"/>
                </a:solidFill>
                <a:latin typeface="Arial" pitchFamily="18"/>
                <a:cs typeface="Arial" pitchFamily="18"/>
              </a:defRPr>
            </a:lvl1pPr>
          </a:lstStyle>
          <a:p>
            <a:r>
              <a:rPr lang="de-DE" sz="2000" kern="0" dirty="0">
                <a:solidFill>
                  <a:schemeClr val="bg1"/>
                </a:solidFill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970414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D0E80A-4A08-4CA9-A51F-C439E2C290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52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D12DEDE-2F3C-4CD4-9A94-EF7BDD0260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B2F63660-DA86-4B29-BD7F-0791D0F2849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333333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44B7D1-B6DF-44B2-AF37-5E979F0B5FB7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DE7E0BE-167C-4C7B-A2A1-F1339E406305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6EB918E-A3FD-45E0-B11E-6CD826FDCB6F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4274AF-5F88-498F-B26C-8DE500443544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B476013-EC7F-40C2-8985-4DC79CD60CDF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70B9D25-24B0-4271-B2A3-F27860ACE1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6529AF9-83A7-4A29-B985-36839BE51A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BE0219E-B19A-4B47-AD0E-325B2E1DB7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D76657F-459E-4991-8FEB-7DF8E02BF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78A1E2-B266-4C5C-9038-BF140B63D9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DE74EA9-174C-457F-9438-AACACFE9A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pic>
        <p:nvPicPr>
          <p:cNvPr id="18" name="Picture 1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007C7A14-75ED-462A-8C29-78404B6D59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2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– Zwei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C1FBC5-FA0E-4AA6-A1CC-83136BC43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6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BEF2925-1490-4BBB-95A6-386EAD1D2E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reihandform: Form 4">
            <a:extLst>
              <a:ext uri="{FF2B5EF4-FFF2-40B4-BE49-F238E27FC236}">
                <a16:creationId xmlns:a16="http://schemas.microsoft.com/office/drawing/2014/main" id="{ECBF5769-E800-4C5F-AEE0-ABFA36815E26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chemeClr val="accent2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B89F4BA-2D89-4650-AD36-7CF36C2E174B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65BF82-F093-4C2D-8D09-596318DC6138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5F3245-BC3A-484D-98AA-E342D96AD444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59AA07D-9E1B-4E07-9CFD-2B64E35DD36D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67DBE-FA7E-4482-B2B1-1386BEEB33E0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6DC5BCF-FEC4-43C6-86A9-99196B1F507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126266-41D0-47A5-9EA9-AC5B08527E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1F35310-9150-47D8-BE1A-82B5799F59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8B3652-095C-471A-A60B-C7BC05D6D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4008CF-8A94-4D00-A56B-0B2963AB29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Coding Akademie München GmbH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ECCE352-32A7-4BAA-9224-B1CF399503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4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F7E0732-50F1-4773-9628-193EA0BBFD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8" y="5329856"/>
            <a:ext cx="10261600" cy="7994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3748DDE-C0C0-4535-96AC-601746B0A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8" y="4543195"/>
            <a:ext cx="10261600" cy="410530"/>
          </a:xfrm>
        </p:spPr>
        <p:txBody>
          <a:bodyPr>
            <a:spAutoFit/>
          </a:bodyPr>
          <a:lstStyle>
            <a:lvl1pPr>
              <a:spcAft>
                <a:spcPts val="0"/>
              </a:spcAft>
              <a:defRPr sz="2500" cap="all" baseline="0">
                <a:solidFill>
                  <a:schemeClr val="bg2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2" name="Picture 2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17EF088-183B-478E-9448-D43BBC0A86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3B5A8-D5FC-4407-A2A2-C3481861E3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24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FCC894-EC3C-4D43-8836-DDF70355D8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 descr="A person flying through the air on a snow covered mountain&#10;&#10;Description automatically generated">
            <a:extLst>
              <a:ext uri="{FF2B5EF4-FFF2-40B4-BE49-F238E27FC236}">
                <a16:creationId xmlns:a16="http://schemas.microsoft.com/office/drawing/2014/main" id="{5810151F-6DAF-4E76-BF6A-61CBC2BE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4000"/>
            <a:ext cx="12193588" cy="5634000"/>
          </a:xfrm>
          <a:prstGeom prst="rect">
            <a:avLst/>
          </a:prstGeom>
        </p:spPr>
      </p:pic>
      <p:sp>
        <p:nvSpPr>
          <p:cNvPr id="5" name="Freihandform: Form 2">
            <a:extLst>
              <a:ext uri="{FF2B5EF4-FFF2-40B4-BE49-F238E27FC236}">
                <a16:creationId xmlns:a16="http://schemas.microsoft.com/office/drawing/2014/main" id="{2691C14E-39AF-4132-8C91-12542F1EF30A}"/>
              </a:ext>
            </a:extLst>
          </p:cNvPr>
          <p:cNvSpPr/>
          <p:nvPr userDrawn="1"/>
        </p:nvSpPr>
        <p:spPr>
          <a:xfrm>
            <a:off x="0" y="0"/>
            <a:ext cx="12193559" cy="1224000"/>
          </a:xfrm>
          <a:custGeom>
            <a:avLst>
              <a:gd name="f0" fmla="val 28"/>
            </a:avLst>
            <a:gdLst>
              <a:gd name="f1" fmla="val 10800000"/>
              <a:gd name="f2" fmla="val 5400000"/>
              <a:gd name="f3" fmla="val 1620000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val 45"/>
              <a:gd name="f10" fmla="val 10800"/>
              <a:gd name="f11" fmla="val -2147483647"/>
              <a:gd name="f12" fmla="val 2147483647"/>
              <a:gd name="f13" fmla="abs f4"/>
              <a:gd name="f14" fmla="abs f5"/>
              <a:gd name="f15" fmla="abs f6"/>
              <a:gd name="f16" fmla="*/ f8 1 180"/>
              <a:gd name="f17" fmla="pin 0 f0 10800"/>
              <a:gd name="f18" fmla="+- 0 0 f2"/>
              <a:gd name="f19" fmla="?: f13 f4 1"/>
              <a:gd name="f20" fmla="?: f14 f5 1"/>
              <a:gd name="f21" fmla="?: f15 f6 1"/>
              <a:gd name="f22" fmla="*/ f9 f16 1"/>
              <a:gd name="f23" fmla="+- f7 f17 0"/>
              <a:gd name="f24" fmla="*/ f19 1 21600"/>
              <a:gd name="f25" fmla="*/ f20 1 21600"/>
              <a:gd name="f26" fmla="*/ 21600 f19 1"/>
              <a:gd name="f27" fmla="*/ 21600 f20 1"/>
              <a:gd name="f28" fmla="+- 0 0 f22"/>
              <a:gd name="f29" fmla="min f25 f24"/>
              <a:gd name="f30" fmla="*/ f26 1 f21"/>
              <a:gd name="f31" fmla="*/ f27 1 f21"/>
              <a:gd name="f32" fmla="*/ f28 f1 1"/>
              <a:gd name="f33" fmla="*/ f32 1 f8"/>
              <a:gd name="f34" fmla="+- f31 0 f17"/>
              <a:gd name="f35" fmla="+- f30 0 f17"/>
              <a:gd name="f36" fmla="*/ f17 f29 1"/>
              <a:gd name="f37" fmla="*/ f7 f29 1"/>
              <a:gd name="f38" fmla="*/ f23 f29 1"/>
              <a:gd name="f39" fmla="*/ f31 f29 1"/>
              <a:gd name="f40" fmla="*/ f30 f29 1"/>
              <a:gd name="f41" fmla="+- f33 0 f2"/>
              <a:gd name="f42" fmla="+- f37 0 f38"/>
              <a:gd name="f43" fmla="+- f38 0 f37"/>
              <a:gd name="f44" fmla="*/ f34 f29 1"/>
              <a:gd name="f45" fmla="*/ f35 f29 1"/>
              <a:gd name="f46" fmla="cos 1 f41"/>
              <a:gd name="f47" fmla="abs f42"/>
              <a:gd name="f48" fmla="abs f43"/>
              <a:gd name="f49" fmla="?: f42 f18 f2"/>
              <a:gd name="f50" fmla="?: f42 f2 f18"/>
              <a:gd name="f51" fmla="?: f42 f3 f2"/>
              <a:gd name="f52" fmla="?: f42 f2 f3"/>
              <a:gd name="f53" fmla="+- f39 0 f44"/>
              <a:gd name="f54" fmla="?: f43 f18 f2"/>
              <a:gd name="f55" fmla="?: f43 f2 f18"/>
              <a:gd name="f56" fmla="+- f40 0 f45"/>
              <a:gd name="f57" fmla="+- f44 0 f39"/>
              <a:gd name="f58" fmla="+- f45 0 f40"/>
              <a:gd name="f59" fmla="?: f42 0 f1"/>
              <a:gd name="f60" fmla="?: f42 f1 0"/>
              <a:gd name="f61" fmla="+- 0 0 f46"/>
              <a:gd name="f62" fmla="?: f42 f52 f51"/>
              <a:gd name="f63" fmla="?: f42 f51 f52"/>
              <a:gd name="f64" fmla="?: f43 f50 f49"/>
              <a:gd name="f65" fmla="abs f53"/>
              <a:gd name="f66" fmla="?: f53 0 f1"/>
              <a:gd name="f67" fmla="?: f53 f1 0"/>
              <a:gd name="f68" fmla="?: f53 f54 f55"/>
              <a:gd name="f69" fmla="abs f56"/>
              <a:gd name="f70" fmla="abs f57"/>
              <a:gd name="f71" fmla="?: f56 f18 f2"/>
              <a:gd name="f72" fmla="?: f56 f2 f18"/>
              <a:gd name="f73" fmla="?: f56 f3 f2"/>
              <a:gd name="f74" fmla="?: f56 f2 f3"/>
              <a:gd name="f75" fmla="abs f58"/>
              <a:gd name="f76" fmla="?: f58 f18 f2"/>
              <a:gd name="f77" fmla="?: f58 f2 f18"/>
              <a:gd name="f78" fmla="?: f58 f60 f59"/>
              <a:gd name="f79" fmla="?: f58 f59 f60"/>
              <a:gd name="f80" fmla="*/ f17 f61 1"/>
              <a:gd name="f81" fmla="?: f43 f63 f62"/>
              <a:gd name="f82" fmla="?: f43 f67 f66"/>
              <a:gd name="f83" fmla="?: f43 f66 f67"/>
              <a:gd name="f84" fmla="?: f56 f74 f73"/>
              <a:gd name="f85" fmla="?: f56 f73 f74"/>
              <a:gd name="f86" fmla="?: f57 f72 f71"/>
              <a:gd name="f87" fmla="?: f42 f78 f79"/>
              <a:gd name="f88" fmla="?: f42 f76 f77"/>
              <a:gd name="f89" fmla="*/ f80 3163 1"/>
              <a:gd name="f90" fmla="?: f53 f82 f83"/>
              <a:gd name="f91" fmla="?: f57 f85 f84"/>
              <a:gd name="f92" fmla="*/ f89 1 7636"/>
              <a:gd name="f93" fmla="+- f7 f92 0"/>
              <a:gd name="f94" fmla="+- f30 0 f92"/>
              <a:gd name="f95" fmla="+- f31 0 f92"/>
              <a:gd name="f96" fmla="*/ f93 f29 1"/>
              <a:gd name="f97" fmla="*/ f94 f29 1"/>
              <a:gd name="f98" fmla="*/ f95 f29 1"/>
            </a:gdLst>
            <a:ahLst>
              <a:ahXY gdRefX="f0" minX="f7" maxX="f10">
                <a:pos x="f36" y="f37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96" t="f96" r="f97" b="f98"/>
            <a:pathLst>
              <a:path>
                <a:moveTo>
                  <a:pt x="f38" y="f37"/>
                </a:moveTo>
                <a:arcTo wR="f47" hR="f48" stAng="f81" swAng="f64"/>
                <a:lnTo>
                  <a:pt x="f37" y="f44"/>
                </a:lnTo>
                <a:arcTo wR="f48" hR="f65" stAng="f90" swAng="f68"/>
                <a:lnTo>
                  <a:pt x="f45" y="f39"/>
                </a:lnTo>
                <a:arcTo wR="f69" hR="f70" stAng="f91" swAng="f86"/>
                <a:lnTo>
                  <a:pt x="f40" y="f38"/>
                </a:lnTo>
                <a:arcTo wR="f75" hR="f47" stAng="f87" swAng="f88"/>
                <a:close/>
              </a:path>
            </a:pathLst>
          </a:custGeom>
          <a:solidFill>
            <a:srgbClr val="FFFFFF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000000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C0602B-2707-413D-BC93-3258944F8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2" name="Picture 11" descr="A picture containing building&#10;&#10;Description automatically generated">
            <a:extLst>
              <a:ext uri="{FF2B5EF4-FFF2-40B4-BE49-F238E27FC236}">
                <a16:creationId xmlns:a16="http://schemas.microsoft.com/office/drawing/2014/main" id="{7672403B-842A-49C6-8BEB-4D6B518EBD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1ACA0BD-5512-4562-97BF-68ECC8FD9F4D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03BB8C-41AF-4F2C-8E7B-2454DA7D49E3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BCDE6DD-93E6-4C00-AF79-FD68949134B3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EFFD12-5E8B-4A06-BF8C-ED119969A616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874F66-3BEA-4515-AB65-E271139BDA61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B75179D-9B26-4C80-8052-97E1D0FB814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130ABBE-6CA5-41C3-B26A-28B3E76101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E4B0BA7-9C00-43BF-A992-242B81C181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4E6DFDD-3D97-4EC1-BAC1-AFC3E87A1AB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223963"/>
            <a:ext cx="12193588" cy="5634037"/>
          </a:xfrm>
          <a:solidFill>
            <a:schemeClr val="accent2">
              <a:alpha val="20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Bildplatzhalter</a:t>
            </a:r>
            <a:r>
              <a:rPr lang="en-GB" dirty="0"/>
              <a:t> – </a:t>
            </a:r>
            <a:r>
              <a:rPr lang="en-GB" dirty="0" err="1"/>
              <a:t>Neues</a:t>
            </a:r>
            <a:r>
              <a:rPr lang="en-GB" dirty="0"/>
              <a:t> Bild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einfügen</a:t>
            </a:r>
            <a:r>
              <a:rPr lang="en-GB" dirty="0"/>
              <a:t>, </a:t>
            </a:r>
            <a:r>
              <a:rPr lang="en-GB" dirty="0" err="1"/>
              <a:t>oder</a:t>
            </a:r>
            <a:r>
              <a:rPr lang="en-GB" dirty="0"/>
              <a:t> </a:t>
            </a:r>
            <a:r>
              <a:rPr lang="en-GB" dirty="0" err="1"/>
              <a:t>löschen</a:t>
            </a:r>
            <a:r>
              <a:rPr lang="en-GB" dirty="0"/>
              <a:t> falls </a:t>
            </a:r>
            <a:r>
              <a:rPr lang="en-GB" dirty="0" err="1"/>
              <a:t>festes</a:t>
            </a:r>
            <a:r>
              <a:rPr lang="en-GB" dirty="0"/>
              <a:t> </a:t>
            </a:r>
            <a:r>
              <a:rPr lang="en-GB" dirty="0" err="1"/>
              <a:t>Hintergrundbild</a:t>
            </a:r>
            <a:r>
              <a:rPr lang="en-GB" dirty="0"/>
              <a:t> </a:t>
            </a:r>
            <a:r>
              <a:rPr lang="en-GB" dirty="0" err="1"/>
              <a:t>gewünsc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237288-69B6-4DA0-BD7E-BD7A01D35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3848400"/>
            <a:ext cx="5782197" cy="3852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3679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mit Störer -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C1F08ED-317F-4C8E-8AC5-3645E7730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9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A445690-D26D-440C-9D0E-F82F09C82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917513"/>
          </a:xfrm>
          <a:solidFill>
            <a:schemeClr val="accent6"/>
          </a:solidFill>
        </p:spPr>
        <p:txBody>
          <a:bodyPr lIns="180000" tIns="180000" rIns="180000" bIns="180000">
            <a:spAutoFit/>
          </a:bodyPr>
          <a:lstStyle>
            <a:lvl1pPr marL="263525" indent="-263525">
              <a:buFont typeface="Symbol" panose="05050102010706020507" pitchFamily="18" charset="2"/>
              <a:buChar char="·"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1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3366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mit Störer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8F2F31-45DA-4D1C-8AE7-0F558171E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6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82E814-A6FD-49BA-91D3-B4D306E6C5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reihandform: Form 4">
            <a:extLst>
              <a:ext uri="{FF2B5EF4-FFF2-40B4-BE49-F238E27FC236}">
                <a16:creationId xmlns:a16="http://schemas.microsoft.com/office/drawing/2014/main" id="{2259AF66-F934-4705-8A7D-E43035AD9C52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E8E1DC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ED4B59-3EC5-4E5F-A4DB-BFA6968AC7A1}"/>
              </a:ext>
            </a:extLst>
          </p:cNvPr>
          <p:cNvGrpSpPr/>
          <p:nvPr userDrawn="1"/>
        </p:nvGrpSpPr>
        <p:grpSpPr>
          <a:xfrm>
            <a:off x="-105798" y="1166741"/>
            <a:ext cx="12465438" cy="5877208"/>
            <a:chOff x="-105798" y="1166741"/>
            <a:chExt cx="12465438" cy="5877208"/>
          </a:xfrm>
          <a:solidFill>
            <a:schemeClr val="bg1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ED14F64-9F1E-40B2-978E-B8A78804FD60}"/>
                </a:ext>
              </a:extLst>
            </p:cNvPr>
            <p:cNvSpPr/>
            <p:nvPr/>
          </p:nvSpPr>
          <p:spPr>
            <a:xfrm>
              <a:off x="11096724" y="5191609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D5D8A4-502D-4DB9-8FB4-2C7B25F1C9B5}"/>
                </a:ext>
              </a:extLst>
            </p:cNvPr>
            <p:cNvSpPr/>
            <p:nvPr/>
          </p:nvSpPr>
          <p:spPr>
            <a:xfrm>
              <a:off x="4985600" y="602979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6CB8F2C-4588-48BF-B7A8-4DAF56FBA0CC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-105798" y="6087052"/>
              <a:ext cx="5091398" cy="67768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4AB27FD-858F-42A2-B632-F23226412071}"/>
                </a:ext>
              </a:extLst>
            </p:cNvPr>
            <p:cNvCxnSpPr>
              <a:cxnSpLocks/>
              <a:endCxn id="20" idx="2"/>
            </p:cNvCxnSpPr>
            <p:nvPr/>
          </p:nvCxnSpPr>
          <p:spPr>
            <a:xfrm flipH="1">
              <a:off x="4985600" y="5258319"/>
              <a:ext cx="6184336" cy="82873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67EB2BE-5AD5-4DA8-B914-2997651CA88C}"/>
                </a:ext>
              </a:extLst>
            </p:cNvPr>
            <p:cNvCxnSpPr>
              <a:cxnSpLocks/>
            </p:cNvCxnSpPr>
            <p:nvPr/>
          </p:nvCxnSpPr>
          <p:spPr>
            <a:xfrm>
              <a:off x="11153984" y="524886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A2E591-9A1D-4746-8562-7936560B2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169936" y="1166741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20F3718-7CC4-47F1-B043-91C3F16D1F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8155" y="6075583"/>
              <a:ext cx="1076732" cy="968366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1848609-C511-4866-BE4F-81851EE90F5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29546" y="5257112"/>
              <a:ext cx="4324438" cy="176826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5149056" cy="3095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AC7325-61E4-4525-94CC-1AA9B69662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279" y="3037872"/>
            <a:ext cx="3240000" cy="723900"/>
          </a:xfrm>
          <a:solidFill>
            <a:schemeClr val="accent6"/>
          </a:solidFill>
        </p:spPr>
        <p:txBody>
          <a:bodyPr lIns="180000" tIns="180000" rIns="180000" bIns="180000" anchor="ctr"/>
          <a:lstStyle>
            <a:lvl1pPr marL="0" indent="0" algn="ctr">
              <a:buFont typeface="Symbol" panose="05050102010706020507" pitchFamily="18" charset="2"/>
              <a:buNone/>
              <a:tabLst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b="0" cap="all" baseline="0">
                <a:solidFill>
                  <a:schemeClr val="tx1"/>
                </a:solidFill>
              </a:defRPr>
            </a:lvl1pPr>
            <a:lvl2pPr marL="0" indent="0">
              <a:buFont typeface="Symbol" panose="05050102010706020507" pitchFamily="18" charset="2"/>
              <a:buNone/>
              <a:defRPr b="1"/>
            </a:lvl2pPr>
            <a:lvl3pPr marL="357188" indent="-179388">
              <a:buFont typeface="Symbol" panose="05050102010706020507" pitchFamily="18" charset="2"/>
              <a:buChar char="·"/>
              <a:defRPr b="1"/>
            </a:lvl3pPr>
            <a:lvl4pPr marL="536575" indent="-179388">
              <a:buFont typeface="Symbol" panose="05050102010706020507" pitchFamily="18" charset="2"/>
              <a:buChar char="·"/>
              <a:defRPr b="1"/>
            </a:lvl4pPr>
            <a:lvl5pPr marL="714375" indent="-179388">
              <a:buFont typeface="Symbol" panose="05050102010706020507" pitchFamily="18" charset="2"/>
              <a:buChar char="·"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7" name="Picture 26" descr="A picture containing building&#10;&#10;Description automatically generated">
            <a:extLst>
              <a:ext uri="{FF2B5EF4-FFF2-40B4-BE49-F238E27FC236}">
                <a16:creationId xmlns:a16="http://schemas.microsoft.com/office/drawing/2014/main" id="{E65CBDFF-84C3-4684-A50D-76C6683593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1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variante -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4BCCB-E2E0-4EE9-A123-ABB6E55B6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30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97B4AD9-4DE7-46FC-A5D7-6F124040335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672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bvariante -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3190AF5-C961-40FF-8EB4-96F563C5BE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36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B6C2CC-4A7A-4C4A-8528-B06D11CB5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reihandform: Form 4">
            <a:extLst>
              <a:ext uri="{FF2B5EF4-FFF2-40B4-BE49-F238E27FC236}">
                <a16:creationId xmlns:a16="http://schemas.microsoft.com/office/drawing/2014/main" id="{1FFA70C8-BDD8-4F96-BB91-D62CB6489419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F7F5F1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B25356C-D8D2-4B4C-8C10-C5DAE4277BB8}"/>
              </a:ext>
            </a:extLst>
          </p:cNvPr>
          <p:cNvGrpSpPr/>
          <p:nvPr userDrawn="1"/>
        </p:nvGrpSpPr>
        <p:grpSpPr>
          <a:xfrm>
            <a:off x="-310915" y="692467"/>
            <a:ext cx="4701499" cy="7389994"/>
            <a:chOff x="-310915" y="692467"/>
            <a:chExt cx="4701499" cy="7389994"/>
          </a:xfrm>
          <a:solidFill>
            <a:schemeClr val="bg1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D8B6C6F-FD14-4AF5-8AF1-B567B864897B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3CFBA0F-8272-4470-9F99-8A1B309C6BF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F0D158A-F271-48D6-9CA0-F2C098B8ED72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1CC215C-B987-401B-8744-8380D56694E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68BD5F-CEB8-4E9A-BC4C-57C77B94D76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EDC2362-E7FA-4821-BFD9-65D60ED6D9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A8D35AD-0DD7-4201-9712-1F19EDE778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27F739B9-9923-4D66-8BF6-65169106C0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07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87AE4-D3DA-4B94-B821-B1DA0E75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91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0E5995-725E-46B2-BEFB-11F2FE918D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194804-CEF4-4035-B33E-4EF8E421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C54532-92BF-41E0-A70B-068FF8F3CE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4E96D4-1518-41AA-84C0-9F0CCB9BAA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3033713"/>
            <a:ext cx="10261600" cy="309562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None/>
              <a:defRPr b="1">
                <a:solidFill>
                  <a:srgbClr val="85850C"/>
                </a:solidFill>
              </a:defRPr>
            </a:lvl2pPr>
            <a:lvl3pPr marL="0" indent="0">
              <a:spcAft>
                <a:spcPts val="0"/>
              </a:spcAft>
              <a:buNone/>
              <a:defRPr b="1">
                <a:solidFill>
                  <a:srgbClr val="010180"/>
                </a:solidFill>
              </a:defRPr>
            </a:lvl3pPr>
            <a:lvl4pPr marL="0" indent="0">
              <a:spcAft>
                <a:spcPts val="0"/>
              </a:spcAft>
              <a:buNone/>
              <a:defRPr b="1">
                <a:solidFill>
                  <a:srgbClr val="1D8748"/>
                </a:solidFill>
              </a:defRPr>
            </a:lvl4pPr>
            <a:lvl5pPr marL="0" indent="0">
              <a:spcAft>
                <a:spcPts val="0"/>
              </a:spcAft>
              <a:buNone/>
              <a:defRPr b="1">
                <a:solidFill>
                  <a:srgbClr val="660E7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180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13C047-2ADE-439A-83F7-6E448A43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85662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84" imgH="385" progId="TCLayout.ActiveDocument.1">
                  <p:embed/>
                </p:oleObj>
              </mc:Choice>
              <mc:Fallback>
                <p:oleObj name="think-cell Foli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4">
            <a:extLst>
              <a:ext uri="{FF2B5EF4-FFF2-40B4-BE49-F238E27FC236}">
                <a16:creationId xmlns:a16="http://schemas.microsoft.com/office/drawing/2014/main" id="{4A3589D5-607C-4D6E-8248-115FA608F14C}"/>
              </a:ext>
            </a:extLst>
          </p:cNvPr>
          <p:cNvSpPr/>
          <p:nvPr userDrawn="1"/>
        </p:nvSpPr>
        <p:spPr>
          <a:xfrm>
            <a:off x="0" y="1224000"/>
            <a:ext cx="12193559" cy="5634000"/>
          </a:xfrm>
          <a:prstGeom prst="rect">
            <a:avLst/>
          </a:prstGeom>
          <a:solidFill>
            <a:srgbClr val="D3C9CB"/>
          </a:solidFill>
          <a:ln>
            <a:noFill/>
            <a:prstDash val="solid"/>
          </a:ln>
        </p:spPr>
        <p:txBody>
          <a:bodyPr vert="horz" wrap="none" lIns="90000" tIns="46800" rIns="90000" bIns="46800" anchor="ctr" anchorCtr="0" compatLnSpc="1">
            <a:noAutofit/>
          </a:bodyPr>
          <a:lstStyle/>
          <a:p>
            <a: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</a:pPr>
            <a:endParaRPr lang="de-DE" sz="1800" b="0" i="0" u="none" strike="noStrike" baseline="0">
              <a:ln>
                <a:noFill/>
              </a:ln>
              <a:solidFill>
                <a:srgbClr val="5F4D5C"/>
              </a:solidFill>
              <a:latin typeface="Arial" pitchFamily="18"/>
              <a:ea typeface="Arial" pitchFamily="18"/>
              <a:cs typeface="Arial" pitchFamily="18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6B986D7-3B08-4425-AB92-40445ED3FF1A}"/>
              </a:ext>
            </a:extLst>
          </p:cNvPr>
          <p:cNvGrpSpPr/>
          <p:nvPr userDrawn="1"/>
        </p:nvGrpSpPr>
        <p:grpSpPr>
          <a:xfrm>
            <a:off x="2278857" y="654309"/>
            <a:ext cx="10332346" cy="5475411"/>
            <a:chOff x="2278857" y="654309"/>
            <a:chExt cx="10332346" cy="5475411"/>
          </a:xfrm>
          <a:solidFill>
            <a:schemeClr val="bg1"/>
          </a:solidFill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70329B1-9ABB-4491-A67B-61E401889D2A}"/>
                </a:ext>
              </a:extLst>
            </p:cNvPr>
            <p:cNvSpPr/>
            <p:nvPr/>
          </p:nvSpPr>
          <p:spPr>
            <a:xfrm rot="10800000" flipH="1">
              <a:off x="10370362" y="2840217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DFE0E4A-96B5-412C-ACCF-E2A26233BC1C}"/>
                </a:ext>
              </a:extLst>
            </p:cNvPr>
            <p:cNvSpPr/>
            <p:nvPr/>
          </p:nvSpPr>
          <p:spPr>
            <a:xfrm rot="10800000" flipH="1">
              <a:off x="7066731" y="2037462"/>
              <a:ext cx="114519" cy="114519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807D29-5605-4A8A-A03F-19CE51E885B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8857" y="919541"/>
              <a:ext cx="10332346" cy="2508723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961FE35-FD8C-44EB-9E8B-4B43BBCEE5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97836" y="654309"/>
              <a:ext cx="1857530" cy="1432701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F9E606D-54C3-4A25-9380-E17BBDA47370}"/>
                </a:ext>
              </a:extLst>
            </p:cNvPr>
            <p:cNvCxnSpPr>
              <a:cxnSpLocks/>
            </p:cNvCxnSpPr>
            <p:nvPr/>
          </p:nvCxnSpPr>
          <p:spPr>
            <a:xfrm>
              <a:off x="10443574" y="2915742"/>
              <a:ext cx="1856895" cy="3213978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265DD6B-71A9-44A2-B33F-074E2EFD68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421074" y="919541"/>
              <a:ext cx="824776" cy="1975455"/>
            </a:xfrm>
            <a:prstGeom prst="lin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636007-9D40-4683-954B-F928064390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4AB751-5A0A-46E8-B811-8002F3A3394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47738" y="3045240"/>
            <a:ext cx="10261600" cy="3084480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516D3-833B-4B45-ADCD-38B4401B723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8255000" y="6516880"/>
            <a:ext cx="3597910" cy="11451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spAutoFit/>
          </a:bodyPr>
          <a:lstStyle>
            <a:lvl1pPr marL="0" marR="0" lvl="0" indent="0" algn="r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800" b="0" i="0" u="none" strike="noStrike" baseline="0">
                <a:solidFill>
                  <a:schemeClr val="tx1"/>
                </a:solidFill>
                <a:latin typeface="Arial" pitchFamily="18"/>
                <a:ea typeface="Arial" pitchFamily="18"/>
                <a:cs typeface="Arial" pitchFamily="18"/>
              </a:defRPr>
            </a:lvl1pPr>
          </a:lstStyle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6" name="Picture 1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B9930A-FBD6-4CB1-A2B6-788A2E5D99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8925" y="197373"/>
            <a:ext cx="935738" cy="83820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58" r:id="rId7"/>
    <p:sldLayoutId id="2147483663" r:id="rId8"/>
    <p:sldLayoutId id="2147483662" r:id="rId9"/>
    <p:sldLayoutId id="2147483664" r:id="rId10"/>
    <p:sldLayoutId id="2147483665" r:id="rId11"/>
    <p:sldLayoutId id="2147483666" r:id="rId12"/>
  </p:sldLayoutIdLst>
  <p:hf sldNum="0" hdr="0" dt="0"/>
  <p:txStyles>
    <p:titleStyle>
      <a:lvl1pPr marL="0" marR="0" indent="0" algn="l" rtl="0" hangingPunct="0">
        <a:lnSpc>
          <a:spcPct val="100000"/>
        </a:lnSpc>
        <a:spcBef>
          <a:spcPts val="0"/>
        </a:spcBef>
        <a:spcAft>
          <a:spcPts val="0"/>
        </a:spcAft>
        <a:tabLst>
          <a:tab pos="0" algn="l"/>
          <a:tab pos="448919" algn="l"/>
          <a:tab pos="898199" algn="l"/>
          <a:tab pos="1347480" algn="l"/>
          <a:tab pos="1796760" algn="l"/>
          <a:tab pos="2246040" algn="l"/>
          <a:tab pos="2695320" algn="l"/>
          <a:tab pos="3144600" algn="l"/>
          <a:tab pos="3593880" algn="l"/>
          <a:tab pos="4043159" algn="l"/>
          <a:tab pos="4492440" algn="l"/>
          <a:tab pos="4941719" algn="l"/>
          <a:tab pos="5391000" algn="l"/>
          <a:tab pos="5840280" algn="l"/>
          <a:tab pos="6289560" algn="l"/>
          <a:tab pos="6738840" algn="l"/>
          <a:tab pos="7188120" algn="l"/>
          <a:tab pos="7637400" algn="l"/>
          <a:tab pos="8086679" algn="l"/>
          <a:tab pos="8535960" algn="l"/>
          <a:tab pos="8985240" algn="l"/>
        </a:tabLst>
        <a:defRPr lang="de-DE" sz="2500" b="0" i="0" u="none" strike="noStrike" cap="all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</p:titleStyle>
    <p:bodyStyle>
      <a:lvl1pPr marL="0" marR="0" indent="0" algn="l" defTabSz="720725" rtl="0" hangingPunct="0">
        <a:lnSpc>
          <a:spcPct val="100000"/>
        </a:lnSpc>
        <a:spcBef>
          <a:spcPts val="0"/>
        </a:spcBef>
        <a:spcAft>
          <a:spcPts val="1287"/>
        </a:spcAft>
        <a:tabLst/>
        <a:defRPr lang="de-DE" sz="1800" b="0" i="0" u="none" strike="noStrike" baseline="0">
          <a:ln>
            <a:noFill/>
          </a:ln>
          <a:solidFill>
            <a:schemeClr val="accent2"/>
          </a:solidFill>
          <a:latin typeface="Arial" pitchFamily="18"/>
          <a:cs typeface="Arial" pitchFamily="18"/>
        </a:defRPr>
      </a:lvl1pPr>
      <a:lvl2pPr marL="1793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3pPr>
      <a:lvl4pPr marL="5365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87"/>
        </a:spcAft>
        <a:buFont typeface="Symbol" panose="05050102010706020507" pitchFamily="18" charset="2"/>
        <a:buChar char="·"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A4A3A4"/>
          </p15:clr>
        </p15:guide>
        <p15:guide id="2" orient="horz" pos="1911" userDrawn="1">
          <p15:clr>
            <a:srgbClr val="A4A3A4"/>
          </p15:clr>
        </p15:guide>
        <p15:guide id="3" pos="7061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6" orient="horz" pos="122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e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@arielbesagar?utm_source=unsplash&amp;utm_medium=referral&amp;utm_content=creditCopyText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e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.xml"/><Relationship Id="rId9" Type="http://schemas.openxmlformats.org/officeDocument/2006/relationships/hyperlink" Target="https://unsplash.com/?utm_source=unsplash&amp;utm_medium=referral&amp;utm_content=creditCopyText" TargetMode="Externa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@soymeraki?utm_source=unsplash&amp;utm_medium=referral&amp;utm_content=creditCopyText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jpe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3.xml"/><Relationship Id="rId9" Type="http://schemas.openxmlformats.org/officeDocument/2006/relationships/hyperlink" Target="https://unsplash.com/s/photos/together?utm_source=unsplash&amp;utm_medium=referral&amp;utm_content=creditCopyText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martinfowler.com/bliki/HumbleObject.html" TargetMode="Externa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1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A997AEF-7910-46D0-8182-BC30310F3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A997AEF-7910-46D0-8182-BC30310F3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08D8641-2053-4B4E-B6BC-402E1111459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Picture 25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9CDFB021-4FC6-408F-855E-9DA941B57D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4000"/>
            <a:ext cx="12193588" cy="5634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13A3DE-EB44-4885-B3F8-3471132B28ED}"/>
              </a:ext>
            </a:extLst>
          </p:cNvPr>
          <p:cNvSpPr/>
          <p:nvPr/>
        </p:nvSpPr>
        <p:spPr>
          <a:xfrm>
            <a:off x="1338645" y="2342104"/>
            <a:ext cx="9468000" cy="3402958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F71419-D5C7-452A-9540-A8C258EABB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 Coding Akademie München GmbH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C4F29B-531D-461E-A875-CD8D56B397ED}"/>
              </a:ext>
            </a:extLst>
          </p:cNvPr>
          <p:cNvSpPr/>
          <p:nvPr/>
        </p:nvSpPr>
        <p:spPr>
          <a:xfrm>
            <a:off x="947739" y="1943100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78BB93B-FFB9-40E7-AEC6-988E2BD2F0C1}"/>
              </a:ext>
            </a:extLst>
          </p:cNvPr>
          <p:cNvSpPr/>
          <p:nvPr/>
        </p:nvSpPr>
        <p:spPr>
          <a:xfrm rot="10800000">
            <a:off x="8985613" y="2757953"/>
            <a:ext cx="2223725" cy="3374652"/>
          </a:xfrm>
          <a:custGeom>
            <a:avLst/>
            <a:gdLst>
              <a:gd name="connsiteX0" fmla="*/ 0 w 2223725"/>
              <a:gd name="connsiteY0" fmla="*/ 0 h 3374652"/>
              <a:gd name="connsiteX1" fmla="*/ 1 w 2223725"/>
              <a:gd name="connsiteY1" fmla="*/ 0 h 3374652"/>
              <a:gd name="connsiteX2" fmla="*/ 397245 w 2223725"/>
              <a:gd name="connsiteY2" fmla="*/ 0 h 3374652"/>
              <a:gd name="connsiteX3" fmla="*/ 2223725 w 2223725"/>
              <a:gd name="connsiteY3" fmla="*/ 0 h 3374652"/>
              <a:gd name="connsiteX4" fmla="*/ 2223725 w 2223725"/>
              <a:gd name="connsiteY4" fmla="*/ 397245 h 3374652"/>
              <a:gd name="connsiteX5" fmla="*/ 397245 w 2223725"/>
              <a:gd name="connsiteY5" fmla="*/ 397245 h 3374652"/>
              <a:gd name="connsiteX6" fmla="*/ 397245 w 2223725"/>
              <a:gd name="connsiteY6" fmla="*/ 3374652 h 3374652"/>
              <a:gd name="connsiteX7" fmla="*/ 0 w 2223725"/>
              <a:gd name="connsiteY7" fmla="*/ 3374652 h 3374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23725" h="3374652">
                <a:moveTo>
                  <a:pt x="0" y="0"/>
                </a:moveTo>
                <a:lnTo>
                  <a:pt x="1" y="0"/>
                </a:lnTo>
                <a:lnTo>
                  <a:pt x="397245" y="0"/>
                </a:lnTo>
                <a:lnTo>
                  <a:pt x="2223725" y="0"/>
                </a:lnTo>
                <a:lnTo>
                  <a:pt x="2223725" y="397245"/>
                </a:lnTo>
                <a:lnTo>
                  <a:pt x="397245" y="397245"/>
                </a:lnTo>
                <a:lnTo>
                  <a:pt x="397245" y="3374652"/>
                </a:lnTo>
                <a:lnTo>
                  <a:pt x="0" y="33746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0D80EE-EF82-42E1-BD1B-0A30903A1976}"/>
              </a:ext>
            </a:extLst>
          </p:cNvPr>
          <p:cNvGrpSpPr/>
          <p:nvPr/>
        </p:nvGrpSpPr>
        <p:grpSpPr>
          <a:xfrm>
            <a:off x="-310915" y="692467"/>
            <a:ext cx="4701499" cy="7389994"/>
            <a:chOff x="-310915" y="692467"/>
            <a:chExt cx="4701499" cy="738999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7D25CC-C620-48E9-B1CF-32A2C0C4592D}"/>
                </a:ext>
              </a:extLst>
            </p:cNvPr>
            <p:cNvSpPr/>
            <p:nvPr/>
          </p:nvSpPr>
          <p:spPr>
            <a:xfrm rot="16200000" flipV="1">
              <a:off x="251197" y="1840864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CDD70C9-BB73-441A-8B1B-8736E1027667}"/>
                </a:ext>
              </a:extLst>
            </p:cNvPr>
            <p:cNvSpPr/>
            <p:nvPr/>
          </p:nvSpPr>
          <p:spPr>
            <a:xfrm rot="16200000" flipV="1">
              <a:off x="569712" y="4051850"/>
              <a:ext cx="114519" cy="114519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C64E3E9-0555-4F7F-88B8-D760F24979C8}"/>
                </a:ext>
              </a:extLst>
            </p:cNvPr>
            <p:cNvCxnSpPr>
              <a:cxnSpLocks/>
            </p:cNvCxnSpPr>
            <p:nvPr/>
          </p:nvCxnSpPr>
          <p:spPr>
            <a:xfrm>
              <a:off x="300213" y="1898123"/>
              <a:ext cx="904695" cy="618433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79590EE-B758-410B-865B-4B63BB55835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-590778" y="998888"/>
              <a:ext cx="1205656" cy="59281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5DE10E5-1AF8-408F-99DB-8406A1EC0CC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43686" y="-664727"/>
              <a:ext cx="1029933" cy="40638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99469B6-EE26-4C05-8412-CBDE947F5C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310915" y="4060342"/>
              <a:ext cx="968366" cy="1192937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A93A725-3E53-42C7-9E7B-65DCB59E37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98823" y="1898123"/>
              <a:ext cx="424715" cy="2070373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86E7D474-D7C5-4B94-A237-74E3D2C73C29}"/>
              </a:ext>
            </a:extLst>
          </p:cNvPr>
          <p:cNvSpPr txBox="1">
            <a:spLocks/>
          </p:cNvSpPr>
          <p:nvPr/>
        </p:nvSpPr>
        <p:spPr>
          <a:xfrm>
            <a:off x="947739" y="3500646"/>
            <a:ext cx="10261599" cy="3847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spAutoFit/>
          </a:bodyPr>
          <a:lstStyle>
            <a:lvl1pPr marL="0" marR="0" indent="0" algn="l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0" algn="l"/>
                <a:tab pos="448919" algn="l"/>
                <a:tab pos="898199" algn="l"/>
                <a:tab pos="1347480" algn="l"/>
                <a:tab pos="1796760" algn="l"/>
                <a:tab pos="2246040" algn="l"/>
                <a:tab pos="2695320" algn="l"/>
                <a:tab pos="3144600" algn="l"/>
                <a:tab pos="3593880" algn="l"/>
                <a:tab pos="4043159" algn="l"/>
                <a:tab pos="4492440" algn="l"/>
                <a:tab pos="4941719" algn="l"/>
                <a:tab pos="5391000" algn="l"/>
                <a:tab pos="5840280" algn="l"/>
                <a:tab pos="6289560" algn="l"/>
                <a:tab pos="6738840" algn="l"/>
                <a:tab pos="7188120" algn="l"/>
                <a:tab pos="7637400" algn="l"/>
                <a:tab pos="8086679" algn="l"/>
                <a:tab pos="8535960" algn="l"/>
                <a:tab pos="8985240" algn="l"/>
              </a:tabLst>
              <a:defRPr lang="de-DE" sz="2500" b="0" i="0" u="none" strike="noStrike" cap="all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Working </a:t>
            </a:r>
            <a:r>
              <a:rPr lang="de-DE" kern="0" dirty="0" err="1">
                <a:solidFill>
                  <a:schemeClr val="bg1"/>
                </a:solidFill>
              </a:rPr>
              <a:t>with</a:t>
            </a:r>
            <a:r>
              <a:rPr lang="de-DE" kern="0" dirty="0">
                <a:solidFill>
                  <a:schemeClr val="bg1"/>
                </a:solidFill>
              </a:rPr>
              <a:t> </a:t>
            </a:r>
            <a:r>
              <a:rPr lang="de-DE" kern="0" dirty="0" err="1">
                <a:solidFill>
                  <a:schemeClr val="bg1"/>
                </a:solidFill>
              </a:rPr>
              <a:t>legacy</a:t>
            </a:r>
            <a:r>
              <a:rPr lang="de-DE" kern="0" dirty="0">
                <a:solidFill>
                  <a:schemeClr val="bg1"/>
                </a:solidFill>
              </a:rPr>
              <a:t> cod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BCD5CB7-6433-4EEF-B9E4-A742C7408430}"/>
              </a:ext>
            </a:extLst>
          </p:cNvPr>
          <p:cNvSpPr txBox="1">
            <a:spLocks/>
          </p:cNvSpPr>
          <p:nvPr/>
        </p:nvSpPr>
        <p:spPr>
          <a:xfrm>
            <a:off x="947738" y="4074160"/>
            <a:ext cx="10261600" cy="1953578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tx1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kern="0" dirty="0">
                <a:solidFill>
                  <a:schemeClr val="bg1"/>
                </a:solidFill>
              </a:rPr>
              <a:t>Erkennen, Sicherheitsnetz einbauen und Verbessern</a:t>
            </a:r>
          </a:p>
        </p:txBody>
      </p:sp>
    </p:spTree>
    <p:extLst>
      <p:ext uri="{BB962C8B-B14F-4D97-AF65-F5344CB8AC3E}">
        <p14:creationId xmlns:p14="http://schemas.microsoft.com/office/powerpoint/2010/main" val="1468746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Seams</a:t>
            </a:r>
            <a:r>
              <a:rPr lang="de-DE" dirty="0"/>
              <a:t> und 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Hello User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URL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RL(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https://www.timeanddate.com/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HttpURL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url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openConnecti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RequestMetho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>
                <a:solidFill>
                  <a:srgbClr val="2A00FF"/>
                </a:solidFill>
                <a:latin typeface="Consolas" panose="020B0609020204030204" pitchFamily="49" charset="0"/>
              </a:rPr>
              <a:t>"GET"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DoOutp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ru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ata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Out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flush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ou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ffered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nputStreamRead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InputStream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StringBuff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whil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(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readLin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) !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appe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putLin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i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clo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6A3E3E"/>
                </a:solidFill>
                <a:latin typeface="Consolas" panose="020B0609020204030204" pitchFamily="49" charset="0"/>
              </a:rPr>
              <a:t>con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connec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fina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String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"&lt;span id=\"</a:t>
            </a:r>
            <a:r>
              <a:rPr lang="en-US" sz="1000" b="1" dirty="0" err="1">
                <a:solidFill>
                  <a:srgbClr val="2A00FF"/>
                </a:solidFill>
                <a:latin typeface="Consolas" panose="020B0609020204030204" pitchFamily="49" charset="0"/>
              </a:rPr>
              <a:t>clk_hm</a:t>
            </a:r>
            <a:r>
              <a:rPr lang="en-US" sz="1000" b="1" dirty="0">
                <a:solidFill>
                  <a:srgbClr val="2A00FF"/>
                </a:solidFill>
                <a:latin typeface="Consolas" panose="020B0609020204030204" pitchFamily="49" charset="0"/>
              </a:rPr>
              <a:t>\"&gt;"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indexOf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conten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substring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, </a:t>
            </a:r>
            <a:r>
              <a:rPr lang="en-US" sz="10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pos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0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searchFor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length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5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0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0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Bye"</a:t>
            </a:r>
            <a:r>
              <a:rPr lang="en-US" sz="10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47DD8DD-B9F5-4A4F-B4C6-729E451DCEEC}"/>
              </a:ext>
            </a:extLst>
          </p:cNvPr>
          <p:cNvSpPr txBox="1">
            <a:spLocks/>
          </p:cNvSpPr>
          <p:nvPr/>
        </p:nvSpPr>
        <p:spPr>
          <a:xfrm>
            <a:off x="7481772" y="2558362"/>
            <a:ext cx="4609956" cy="1064053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0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BuildSeamsInto's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b="1" dirty="0">
                <a:solidFill>
                  <a:srgbClr val="3F7F5F"/>
                </a:solidFill>
                <a:latin typeface="Consolas" panose="020B0609020204030204" pitchFamily="49" charset="0"/>
              </a:rPr>
              <a:t> AND network communication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BBD74FF-268A-45AA-AC4E-9259A32EEFB6}"/>
              </a:ext>
            </a:extLst>
          </p:cNvPr>
          <p:cNvSpPr txBox="1">
            <a:spLocks/>
          </p:cNvSpPr>
          <p:nvPr/>
        </p:nvSpPr>
        <p:spPr>
          <a:xfrm>
            <a:off x="7960794" y="3751720"/>
            <a:ext cx="4130934" cy="204476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Führe </a:t>
            </a:r>
            <a:r>
              <a:rPr lang="de-DE" kern="0" dirty="0" err="1"/>
              <a:t>seams</a:t>
            </a:r>
            <a:r>
              <a:rPr lang="de-DE" kern="0" dirty="0"/>
              <a:t> ein,</a:t>
            </a:r>
          </a:p>
          <a:p>
            <a:pPr marL="628650" lvl="1" indent="-360363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damit an diesen </a:t>
            </a:r>
            <a:r>
              <a:rPr lang="de-DE" sz="1600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seams</a:t>
            </a: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 Informationen für den Golden Master bereit gestellt werden können</a:t>
            </a:r>
          </a:p>
          <a:p>
            <a:pPr marL="628650" lvl="1" indent="-360363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damit „stabile“ Informationen von außen bereitgestellt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2649529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010" y="1320853"/>
            <a:ext cx="10261600" cy="384721"/>
          </a:xfrm>
        </p:spPr>
        <p:txBody>
          <a:bodyPr/>
          <a:lstStyle/>
          <a:p>
            <a:pPr lvl="0"/>
            <a:r>
              <a:rPr lang="de-DE" dirty="0" err="1"/>
              <a:t>Seams</a:t>
            </a:r>
            <a:r>
              <a:rPr lang="de-DE" dirty="0"/>
              <a:t> und deren Verwendung in Unit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8750" y="1906276"/>
            <a:ext cx="4908117" cy="2011280"/>
          </a:xfrm>
        </p:spPr>
        <p:txBody>
          <a:bodyPr/>
          <a:lstStyle/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90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List&lt;Trip&gt; </a:t>
            </a:r>
            <a:r>
              <a:rPr lang="en-US" sz="90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User </a:t>
            </a:r>
            <a:r>
              <a:rPr lang="en-US" sz="90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9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900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9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900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90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9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90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TripDAO.</a:t>
            </a:r>
            <a:r>
              <a:rPr lang="en-US" sz="9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findTripsByUser</a:t>
            </a:r>
            <a:r>
              <a:rPr lang="en-US" sz="9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i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9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}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BBD74FF-268A-45AA-AC4E-9259A32EEFB6}"/>
              </a:ext>
            </a:extLst>
          </p:cNvPr>
          <p:cNvSpPr txBox="1">
            <a:spLocks/>
          </p:cNvSpPr>
          <p:nvPr/>
        </p:nvSpPr>
        <p:spPr>
          <a:xfrm>
            <a:off x="255010" y="4586634"/>
            <a:ext cx="4130934" cy="204476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</a:t>
            </a:r>
            <a:r>
              <a:rPr lang="de-DE" kern="0" dirty="0"/>
              <a:t> </a:t>
            </a:r>
            <a:r>
              <a:rPr lang="de-DE" kern="0" dirty="0" err="1"/>
              <a:t>seams</a:t>
            </a:r>
            <a:r>
              <a:rPr lang="de-DE" kern="0" dirty="0"/>
              <a:t> können sub-</a:t>
            </a:r>
            <a:r>
              <a:rPr lang="de-DE" kern="0" dirty="0" err="1"/>
              <a:t>classed</a:t>
            </a:r>
            <a:r>
              <a:rPr lang="de-DE" kern="0" dirty="0"/>
              <a:t> und überschrieben wer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Möglichkeit Verwendung aufzuzeichnen </a:t>
            </a:r>
            <a:r>
              <a:rPr lang="de-DE" kern="0" dirty="0">
                <a:sym typeface="Wingdings" panose="05000000000000000000" pitchFamily="2" charset="2"/>
              </a:rPr>
              <a:t> golden </a:t>
            </a:r>
            <a:r>
              <a:rPr lang="de-DE" kern="0" dirty="0" err="1">
                <a:sym typeface="Wingdings" panose="05000000000000000000" pitchFamily="2" charset="2"/>
              </a:rPr>
              <a:t>master</a:t>
            </a:r>
            <a:endParaRPr lang="de-DE" kern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>
                <a:sym typeface="Wingdings" panose="05000000000000000000" pitchFamily="2" charset="2"/>
              </a:rPr>
              <a:t>Möglichkeit definierte Werte zu liefern  Unitte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>
                <a:sym typeface="Wingdings" panose="05000000000000000000" pitchFamily="2" charset="2"/>
              </a:rPr>
              <a:t>Auch spezifische </a:t>
            </a:r>
            <a:r>
              <a:rPr lang="en-US" sz="1800" b="1" dirty="0">
                <a:solidFill>
                  <a:srgbClr val="000000"/>
                </a:solidFill>
                <a:latin typeface="Consolas" panose="020B0609020204030204" pitchFamily="49" charset="0"/>
              </a:rPr>
              <a:t>Testable…</a:t>
            </a:r>
            <a:r>
              <a:rPr lang="de-DE" kern="0" dirty="0">
                <a:sym typeface="Wingdings" panose="05000000000000000000" pitchFamily="2" charset="2"/>
              </a:rPr>
              <a:t> möglich </a:t>
            </a:r>
            <a:endParaRPr lang="de-DE" kern="0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999D0B6-2B84-4F68-9986-AA3D3488EAC1}"/>
              </a:ext>
            </a:extLst>
          </p:cNvPr>
          <p:cNvSpPr txBox="1">
            <a:spLocks/>
          </p:cNvSpPr>
          <p:nvPr/>
        </p:nvSpPr>
        <p:spPr>
          <a:xfrm>
            <a:off x="4668072" y="1906274"/>
            <a:ext cx="4130935" cy="357086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90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List&lt;Trip&gt; </a:t>
            </a:r>
            <a:r>
              <a:rPr lang="en-US" sz="90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User </a:t>
            </a:r>
            <a:r>
              <a:rPr lang="en-US" sz="90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loggedInUser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90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9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90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tripsBy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}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endParaRPr lang="en-US" sz="900" dirty="0">
              <a:latin typeface="Consolas" panose="020B0609020204030204" pitchFamily="49" charset="0"/>
            </a:endParaRP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By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90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DAO.</a:t>
            </a:r>
            <a:r>
              <a:rPr lang="en-US" sz="9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findTripsByUser</a:t>
            </a:r>
            <a:r>
              <a:rPr lang="en-US" sz="9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9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endParaRPr lang="en-US" sz="900" dirty="0">
              <a:latin typeface="Consolas" panose="020B0609020204030204" pitchFamily="49" charset="0"/>
            </a:endParaRP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ggedInUser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9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9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9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9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9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9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9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9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F2FA78C2-7D36-4F24-9F22-C8CBC3C3D516}"/>
              </a:ext>
            </a:extLst>
          </p:cNvPr>
          <p:cNvSpPr/>
          <p:nvPr/>
        </p:nvSpPr>
        <p:spPr>
          <a:xfrm>
            <a:off x="4578352" y="2224368"/>
            <a:ext cx="554182" cy="147782"/>
          </a:xfrm>
          <a:prstGeom prst="rightArrow">
            <a:avLst/>
          </a:prstGeom>
          <a:solidFill>
            <a:schemeClr val="accent6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863045B-F57C-4A0B-947C-28E53FA2116F}"/>
              </a:ext>
            </a:extLst>
          </p:cNvPr>
          <p:cNvSpPr txBox="1">
            <a:spLocks/>
          </p:cNvSpPr>
          <p:nvPr/>
        </p:nvSpPr>
        <p:spPr>
          <a:xfrm>
            <a:off x="8451143" y="1906276"/>
            <a:ext cx="3597910" cy="357086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Shoul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1000" b="1" dirty="0" err="1">
                <a:solidFill>
                  <a:srgbClr val="0000C0"/>
                </a:solidFill>
                <a:latin typeface="Consolas" panose="020B0609020204030204" pitchFamily="49" charset="0"/>
              </a:rPr>
              <a:t>loggedInUs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you_should_code_your_tests_her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u="sng" dirty="0" err="1">
                <a:solidFill>
                  <a:srgbClr val="6A3E3E"/>
                </a:solidFill>
                <a:latin typeface="Consolas" panose="020B0609020204030204" pitchFamily="49" charset="0"/>
              </a:rPr>
              <a:t>tripService</a:t>
            </a:r>
            <a:r>
              <a:rPr lang="en-US" sz="1000" u="sng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b="1" u="sng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TestableTripService</a:t>
            </a:r>
            <a:r>
              <a:rPr lang="en-US" sz="1000" b="1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estableTripServic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extends</a:t>
            </a:r>
            <a:b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</a:b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Override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By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trip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endParaRPr lang="en-US" sz="1000" dirty="0"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dirty="0">
                <a:solidFill>
                  <a:srgbClr val="646464"/>
                </a:solidFill>
                <a:latin typeface="Consolas" panose="020B0609020204030204" pitchFamily="49" charset="0"/>
              </a:rPr>
              <a:t>@Override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ggedInUs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C0"/>
                </a:solidFill>
                <a:latin typeface="Consolas" panose="020B0609020204030204" pitchFamily="49" charset="0"/>
              </a:rPr>
              <a:t>loggedInUser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1000" kern="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4917164B-8999-49CC-AC8E-0F3B1D61DED8}"/>
              </a:ext>
            </a:extLst>
          </p:cNvPr>
          <p:cNvSpPr/>
          <p:nvPr/>
        </p:nvSpPr>
        <p:spPr>
          <a:xfrm>
            <a:off x="3712299" y="2772594"/>
            <a:ext cx="1732106" cy="147782"/>
          </a:xfrm>
          <a:prstGeom prst="rightArrow">
            <a:avLst/>
          </a:prstGeom>
          <a:solidFill>
            <a:schemeClr val="accent6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A9CE9212-AF4B-472E-BBDB-2695A3072639}"/>
              </a:ext>
            </a:extLst>
          </p:cNvPr>
          <p:cNvSpPr/>
          <p:nvPr/>
        </p:nvSpPr>
        <p:spPr>
          <a:xfrm rot="261229">
            <a:off x="7652203" y="3730393"/>
            <a:ext cx="1043110" cy="147782"/>
          </a:xfrm>
          <a:prstGeom prst="rightArrow">
            <a:avLst/>
          </a:prstGeom>
          <a:solidFill>
            <a:schemeClr val="accent6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80BB4196-D497-4D83-A783-A0A08341592C}"/>
              </a:ext>
            </a:extLst>
          </p:cNvPr>
          <p:cNvSpPr/>
          <p:nvPr/>
        </p:nvSpPr>
        <p:spPr>
          <a:xfrm rot="261229">
            <a:off x="7774324" y="4510185"/>
            <a:ext cx="1043110" cy="147782"/>
          </a:xfrm>
          <a:prstGeom prst="rightArrow">
            <a:avLst/>
          </a:prstGeom>
          <a:solidFill>
            <a:schemeClr val="accent6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9FE61934-A6CA-4E4A-8654-5EF099D8247E}"/>
              </a:ext>
            </a:extLst>
          </p:cNvPr>
          <p:cNvSpPr txBox="1">
            <a:spLocks/>
          </p:cNvSpPr>
          <p:nvPr/>
        </p:nvSpPr>
        <p:spPr>
          <a:xfrm>
            <a:off x="6830607" y="5537147"/>
            <a:ext cx="5193270" cy="87308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kern="0" dirty="0"/>
              <a:t>Warum </a:t>
            </a:r>
            <a:r>
              <a:rPr lang="de-DE" sz="1600" b="1" kern="0" dirty="0" err="1"/>
              <a:t>seams</a:t>
            </a:r>
            <a:r>
              <a:rPr lang="de-DE" sz="1600" b="1" kern="0" dirty="0"/>
              <a:t> und nicht dynamischen Mocken?</a:t>
            </a:r>
          </a:p>
          <a:p>
            <a:r>
              <a:rPr lang="de-DE" sz="1600" kern="0" dirty="0" err="1"/>
              <a:t>Seams</a:t>
            </a:r>
            <a:r>
              <a:rPr lang="de-DE" sz="1600" kern="0" dirty="0"/>
              <a:t> sind ideale Startpunkte für </a:t>
            </a:r>
            <a:r>
              <a:rPr lang="de-DE" sz="1600" kern="0" dirty="0" err="1"/>
              <a:t>redesign</a:t>
            </a:r>
            <a:r>
              <a:rPr lang="de-DE" sz="1600" kern="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048434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Key </a:t>
            </a:r>
            <a:r>
              <a:rPr lang="de-DE" dirty="0" err="1"/>
              <a:t>point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Jede Änderung braucht ein Sicherheitsnetz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der Qualität und </a:t>
            </a:r>
            <a:r>
              <a:rPr lang="de-DE" dirty="0" err="1"/>
              <a:t>Zuverlässlichkeit</a:t>
            </a:r>
            <a:r>
              <a:rPr lang="de-DE" dirty="0"/>
              <a:t> des Sicherheitsnetz wächst die Fähigkeit tiefgreifende Veränderungen zum Bessern durchzuführ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Mit einem guten Sicherheitsnetz sind Änderungen und Auslieferung mit vertretbaren Risiko im vollen Umfang jederzeit möglich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969357"/>
          </a:xfrm>
        </p:spPr>
        <p:txBody>
          <a:bodyPr/>
          <a:lstStyle/>
          <a:p>
            <a:pPr lvl="0"/>
            <a:r>
              <a:rPr lang="en-US" dirty="0"/>
              <a:t>Golden Master und Characterization Test</a:t>
            </a:r>
          </a:p>
          <a:p>
            <a:pPr lvl="0"/>
            <a:r>
              <a:rPr lang="en-US" dirty="0"/>
              <a:t>Seam</a:t>
            </a:r>
          </a:p>
          <a:p>
            <a:pPr lvl="0"/>
            <a:r>
              <a:rPr lang="en-US" dirty="0"/>
              <a:t>Unit Test</a:t>
            </a:r>
          </a:p>
          <a:p>
            <a:pPr lvl="0"/>
            <a:r>
              <a:rPr lang="en-US" dirty="0"/>
              <a:t>Continuous Integration Practice</a:t>
            </a:r>
          </a:p>
          <a:p>
            <a:pPr lvl="0"/>
            <a:r>
              <a:rPr lang="en-US" dirty="0"/>
              <a:t>Continuous Deployment</a:t>
            </a:r>
          </a:p>
        </p:txBody>
      </p:sp>
    </p:spTree>
    <p:extLst>
      <p:ext uri="{BB962C8B-B14F-4D97-AF65-F5344CB8AC3E}">
        <p14:creationId xmlns:p14="http://schemas.microsoft.com/office/powerpoint/2010/main" val="25477800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 descr="Ein Bild, das Platz enthält.&#10;&#10;Automatisch generierte Beschreibung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123658"/>
          </a:xfrm>
        </p:spPr>
        <p:txBody>
          <a:bodyPr/>
          <a:lstStyle/>
          <a:p>
            <a:pPr lvl="0"/>
            <a:r>
              <a:rPr lang="de-DE" sz="13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ern</a:t>
            </a:r>
          </a:p>
        </p:txBody>
      </p:sp>
    </p:spTree>
    <p:extLst>
      <p:ext uri="{BB962C8B-B14F-4D97-AF65-F5344CB8AC3E}">
        <p14:creationId xmlns:p14="http://schemas.microsoft.com/office/powerpoint/2010/main" val="23328748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Long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Lange Methoden „wissen“ nicht was sie tu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Die Kohäsion innerhalb der Methode fehl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Weil eine lange Methode „viel“ macht, ist es schwierige diese Methode korrekt aufzurufen und mit Fehlerfällen umzugeh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1915222"/>
          </a:xfrm>
        </p:spPr>
        <p:txBody>
          <a:bodyPr/>
          <a:lstStyle/>
          <a:p>
            <a:pPr lvl="0"/>
            <a:r>
              <a:rPr lang="de-DE" dirty="0"/>
              <a:t>Finde kohäsive Abschnitte in langen Methoden</a:t>
            </a:r>
          </a:p>
          <a:p>
            <a:pPr lvl="0"/>
            <a:r>
              <a:rPr lang="de-DE" dirty="0"/>
              <a:t>Benenne eine Methode passend zu dem was sie macht</a:t>
            </a:r>
          </a:p>
        </p:txBody>
      </p:sp>
    </p:spTree>
    <p:extLst>
      <p:ext uri="{BB962C8B-B14F-4D97-AF65-F5344CB8AC3E}">
        <p14:creationId xmlns:p14="http://schemas.microsoft.com/office/powerpoint/2010/main" val="27447551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: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eim Aufräumen innerhalb einer Methode wird ein kohäsive Teilabschnitt gefund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Extrahiere diesen in eine eigene Methode oder Klass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Bringe sinnvolle Fehlerbehandlung in die Methode hinei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gf. müssen Codezeilen neu sortiert werd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39" y="3033713"/>
            <a:ext cx="3980651" cy="2358934"/>
          </a:xfrm>
        </p:spPr>
        <p:txBody>
          <a:bodyPr/>
          <a:lstStyle/>
          <a:p>
            <a:r>
              <a:rPr lang="de-DE" dirty="0"/>
              <a:t>Erkenne zusammenhängende Codezeilen</a:t>
            </a:r>
          </a:p>
          <a:p>
            <a:pPr lvl="0"/>
            <a:r>
              <a:rPr lang="de-DE" dirty="0"/>
              <a:t>Sortiere zusammenhängende Codezeilen nahe zusammen</a:t>
            </a:r>
          </a:p>
          <a:p>
            <a:pPr lvl="0"/>
            <a:r>
              <a:rPr lang="de-DE" dirty="0"/>
              <a:t>Extrahiere diese Codezeilen in eine neue Methode</a:t>
            </a:r>
          </a:p>
        </p:txBody>
      </p:sp>
    </p:spTree>
    <p:extLst>
      <p:ext uri="{BB962C8B-B14F-4D97-AF65-F5344CB8AC3E}">
        <p14:creationId xmlns:p14="http://schemas.microsoft.com/office/powerpoint/2010/main" val="7705532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</a:t>
            </a:r>
            <a:r>
              <a:rPr lang="de-DE" dirty="0" err="1"/>
              <a:t>method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golden-master-seam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uche zusammenhänge Codeze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Versuche diese mit der I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Sortiere Codezeilen neue und versuche erneut eine Methode zu extrahi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fällt Euch auf?</a:t>
            </a:r>
          </a:p>
        </p:txBody>
      </p:sp>
    </p:spTree>
    <p:extLst>
      <p:ext uri="{BB962C8B-B14F-4D97-AF65-F5344CB8AC3E}">
        <p14:creationId xmlns:p14="http://schemas.microsoft.com/office/powerpoint/2010/main" val="14101514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Pattern: Extract </a:t>
            </a:r>
            <a:r>
              <a:rPr lang="de-DE" dirty="0" err="1"/>
              <a:t>class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/>
              <a:t>Gibt es einen Ansammlung von Methoden, die eng miteinander in der Klasse arbeiten, aber mit vielen anderen Methoden dieser Klasse nicht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 überlege, ob diese Methoden in einer eigenen Klasse extrahiert werden könn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ie neue Klasse kann unabhängige Zustände und Lebenszyklen habe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as Verhalten kann durch gezieltes Testen der Klasse gesichert und ausgetauscht werden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2635933"/>
          </a:xfrm>
        </p:spPr>
        <p:txBody>
          <a:bodyPr/>
          <a:lstStyle/>
          <a:p>
            <a:pPr lvl="0"/>
            <a:r>
              <a:rPr lang="de-DE" dirty="0"/>
              <a:t>Methoden, die in enger Kollaboration arbeiten</a:t>
            </a:r>
          </a:p>
          <a:p>
            <a:pPr lvl="0"/>
            <a:r>
              <a:rPr lang="de-DE" dirty="0"/>
              <a:t>Zustände, die nur für diese und zwischen diesen Methoden Sinn ergeben</a:t>
            </a:r>
          </a:p>
          <a:p>
            <a:pPr lvl="0"/>
            <a:r>
              <a:rPr lang="de-DE" dirty="0"/>
              <a:t>Vereinfacht das Testen und Austauschen von Verhalten</a:t>
            </a:r>
          </a:p>
        </p:txBody>
      </p:sp>
    </p:spTree>
    <p:extLst>
      <p:ext uri="{BB962C8B-B14F-4D97-AF65-F5344CB8AC3E}">
        <p14:creationId xmlns:p14="http://schemas.microsoft.com/office/powerpoint/2010/main" val="23310023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xtract Class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{</a:t>
            </a:r>
          </a:p>
          <a:p>
            <a:pPr algn="l"/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1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 User </a:t>
            </a:r>
            <a:r>
              <a:rPr lang="en-US" sz="11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User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(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bil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fax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, String </a:t>
            </a:r>
            <a:r>
              <a:rPr lang="en-US" sz="1100" b="1" dirty="0">
                <a:solidFill>
                  <a:srgbClr val="6A3E3E"/>
                </a:solidFill>
                <a:latin typeface="Consolas" panose="020B0609020204030204" pitchFamily="49" charset="0"/>
              </a:rPr>
              <a:t>address</a:t>
            </a:r>
            <a:r>
              <a:rPr lang="en-US" sz="11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1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1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1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1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1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create user "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1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name</a:t>
            </a:r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1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  <a:endParaRPr lang="en-US" sz="11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extract-class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as sind Konzept und kann das Konzept explizit statt implizit abgebildet werde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nd zu viele Details?</a:t>
            </a:r>
          </a:p>
        </p:txBody>
      </p:sp>
    </p:spTree>
    <p:extLst>
      <p:ext uri="{BB962C8B-B14F-4D97-AF65-F5344CB8AC3E}">
        <p14:creationId xmlns:p14="http://schemas.microsoft.com/office/powerpoint/2010/main" val="6351058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ist feature Envy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Kollaboration zwischen Objekten ist gewollt, schließlich gestalten wir Klassen entsprechend (abstrakten) Konzepten zur Abstraktion und besseren Wiederverwendung.</a:t>
            </a:r>
          </a:p>
          <a:p>
            <a:pPr lvl="0"/>
            <a:r>
              <a:rPr lang="de-DE" dirty="0"/>
              <a:t>Wenn nun eine Klasse/Methode eine andere ständig Fragen muss, so wirft dies die Frage auf, ob diese korrekt </a:t>
            </a:r>
            <a:r>
              <a:rPr lang="de-DE" dirty="0" err="1"/>
              <a:t>designed</a:t>
            </a:r>
            <a:r>
              <a:rPr lang="de-DE" dirty="0"/>
              <a:t> wurde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Relevante Informationen zur Erledigung einer Aufgabe ist woanders beheimatet als dort wo diese gebraucht wird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/>
              <a:t>Internas</a:t>
            </a:r>
            <a:r>
              <a:rPr lang="de-DE" dirty="0"/>
              <a:t> sind weithin sichtbar und implizit umfangreiche Änderungen</a:t>
            </a:r>
          </a:p>
          <a:p>
            <a:pPr lvl="0"/>
            <a:r>
              <a:rPr lang="de-DE" dirty="0"/>
              <a:t>Dies nennt man </a:t>
            </a:r>
            <a:r>
              <a:rPr lang="de-DE" b="1" dirty="0">
                <a:solidFill>
                  <a:schemeClr val="accent6"/>
                </a:solidFill>
              </a:rPr>
              <a:t>feature </a:t>
            </a:r>
            <a:r>
              <a:rPr lang="de-DE" b="1" dirty="0" err="1">
                <a:solidFill>
                  <a:schemeClr val="accent6"/>
                </a:solidFill>
              </a:rPr>
              <a:t>envy</a:t>
            </a:r>
            <a:r>
              <a:rPr lang="de-DE" b="1" dirty="0">
                <a:solidFill>
                  <a:schemeClr val="accent6"/>
                </a:solidFill>
              </a:rPr>
              <a:t> und macht Code sehr rigide und schwierig zu veränder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3745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5583318-BDA7-4F3B-8FE0-B702F19273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5583318-BDA7-4F3B-8FE0-B702F1927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5D2E7CD-A3A1-4E6D-9966-B6AC493824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8F30E9F8-440F-44E0-B52D-AB1EBF06B4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21A8E2-A8D0-4F5A-849C-3B94D4ED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000" y="1946735"/>
            <a:ext cx="5413338" cy="769441"/>
          </a:xfrm>
        </p:spPr>
        <p:txBody>
          <a:bodyPr/>
          <a:lstStyle/>
          <a:p>
            <a:pPr lvl="0"/>
            <a:r>
              <a:rPr lang="de-DE" dirty="0"/>
              <a:t>Was brauche ich damit ich code verbessern kann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F96B343-350F-47E4-AA54-7AC3713E7F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70F313F-B111-4B8D-BBD1-7B1D0C407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Denke zurück als du in einem Code eine Erweiterung implementieren solltest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leichtert?</a:t>
            </a:r>
          </a:p>
          <a:p>
            <a:pPr marL="465138" lvl="1" indent="-285750">
              <a:buFont typeface="Arial" panose="020B0604020202020204" pitchFamily="34" charset="0"/>
              <a:buChar char="•"/>
            </a:pPr>
            <a:r>
              <a:rPr lang="de-DE" dirty="0"/>
              <a:t>Was hat die Aufgabe erschwer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rich mit deinem Partner über diese konkrete Situation</a:t>
            </a:r>
          </a:p>
        </p:txBody>
      </p:sp>
      <p:pic>
        <p:nvPicPr>
          <p:cNvPr id="12" name="Picture 6" descr="A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390D5458-F8A8-494B-943D-F02C7BC3E1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223998"/>
            <a:ext cx="5400720" cy="5634001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DD05E0-6FB6-4F38-83F1-B93B4318955B}"/>
              </a:ext>
            </a:extLst>
          </p:cNvPr>
          <p:cNvSpPr/>
          <p:nvPr/>
        </p:nvSpPr>
        <p:spPr>
          <a:xfrm>
            <a:off x="8811490" y="286328"/>
            <a:ext cx="3179965" cy="64654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Übung: Pair-Share</a:t>
            </a:r>
          </a:p>
        </p:txBody>
      </p:sp>
    </p:spTree>
    <p:extLst>
      <p:ext uri="{BB962C8B-B14F-4D97-AF65-F5344CB8AC3E}">
        <p14:creationId xmlns:p14="http://schemas.microsoft.com/office/powerpoint/2010/main" val="1570572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Welcome to the cinema of Horror movies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User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User(18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Movie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ovie(</a:t>
            </a:r>
            <a:r>
              <a:rPr lang="en-US" sz="1200" b="1" dirty="0">
                <a:solidFill>
                  <a:srgbClr val="2A00FF"/>
                </a:solidFill>
                <a:latin typeface="Consolas" panose="020B0609020204030204" pitchFamily="49" charset="0"/>
              </a:rPr>
              <a:t>"Horror of the Code"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Walle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.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.getEntryFe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AgeRat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anton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 + </a:t>
            </a:r>
            <a:r>
              <a:rPr lang="en-US" sz="1200" b="1" i="1" dirty="0">
                <a:solidFill>
                  <a:srgbClr val="2A00FF"/>
                </a:solidFill>
                <a:latin typeface="Consolas" panose="020B0609020204030204" pitchFamily="49" charset="0"/>
              </a:rPr>
              <a:t>" visits "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 + </a:t>
            </a:r>
            <a:r>
              <a:rPr lang="en-US" sz="1200" b="1" i="1" dirty="0" err="1">
                <a:solidFill>
                  <a:srgbClr val="6A3E3E"/>
                </a:solidFill>
                <a:latin typeface="Consolas" panose="020B0609020204030204" pitchFamily="49" charset="0"/>
              </a:rPr>
              <a:t>movie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getNam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feature-envy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7666181" y="2876355"/>
            <a:ext cx="4205995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o sieht man feature-</a:t>
            </a:r>
            <a:r>
              <a:rPr lang="de-DE" kern="0" dirty="0" err="1"/>
              <a:t>envy</a:t>
            </a:r>
            <a:r>
              <a:rPr lang="de-DE" kern="0" dirty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ie kann das gelöst werden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Code?</a:t>
            </a:r>
          </a:p>
          <a:p>
            <a:pPr marL="534988" lvl="1" indent="-266700">
              <a:buFont typeface="Arial" panose="020B0604020202020204" pitchFamily="34" charset="0"/>
              <a:buChar char="•"/>
            </a:pP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Im Prozess?</a:t>
            </a:r>
            <a:b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</a:br>
            <a:r>
              <a:rPr lang="de-DE" sz="1600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Bedenke:„Conway-Law</a:t>
            </a:r>
            <a:r>
              <a:rPr lang="de-DE" sz="1600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“ bzgl. Kommunikation zwischen Abteilungen und Abbildung im Code.</a:t>
            </a:r>
          </a:p>
        </p:txBody>
      </p:sp>
    </p:spTree>
    <p:extLst>
      <p:ext uri="{BB962C8B-B14F-4D97-AF65-F5344CB8AC3E}">
        <p14:creationId xmlns:p14="http://schemas.microsoft.com/office/powerpoint/2010/main" val="13471761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$ git log --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nelin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--graph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a2ffc7c (HEAD -&gt; master, origin/master) Working on feature-envy: Remove unused method from User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3572316 Working on feature-envy: Remove unused method from Mone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5e05737 Working on feature-envy: Remove feature-envies from Walle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f562690 Working on feature-envy: Refactor - inline variable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f9fe06c Working on feature-envy: Refactor - inline variable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5d37389 Working on feature-envy: Rename method in Movie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ad849e8 Working on feature-envy: Remove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nunse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method from Movie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e96d0b1 Working on feature-envy: Remove unused method from User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16adb81 Working on feature-envy: Remove unused method from Walle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c63767c Working on feature-envy: Implement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f937456 Working on feature-envy: Improve the safety-net by adding unit 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3d252ba Working on feature-envy: Added ability to User to have a non-empty Walle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ac59e49 Working on feature-envy: Added ability to Wallet to fund with more than no mone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02523b0 Working on feature-envy: Added ability to copy Mone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c098730 Working on feature-envy: Switch logic to use Money in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6d2138c Working on feature-envy: Introduce class Money for concept mone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36e7d95 Working on feature-envy: Remove feature-envy statemen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8530350 Working on feature-envy: Improve unit 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57b8c79 Working on feature-envy: Create seam with extract method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cb18ac8 Working on feature-envy: Create seam with extract method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* 41b2466 Working on feature-envy: Introduce pre-cursor to extract method.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3E84549-51E2-4BA1-9726-306202814FE1}"/>
              </a:ext>
            </a:extLst>
          </p:cNvPr>
          <p:cNvSpPr txBox="1">
            <a:spLocks/>
          </p:cNvSpPr>
          <p:nvPr/>
        </p:nvSpPr>
        <p:spPr>
          <a:xfrm>
            <a:off x="9153236" y="3202932"/>
            <a:ext cx="2852074" cy="86662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Eine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Lösungsvariant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– Schritt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für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Schritt in 21 commits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4155457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517fe91..b51679a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7,11 +7,1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Se</a:t>
            </a:r>
            <a:r>
              <a:rPr lang="de-DE" kern="0" dirty="0" err="1"/>
              <a:t>am</a:t>
            </a:r>
            <a:r>
              <a:rPr lang="de-DE" kern="0" dirty="0"/>
              <a:t> Einführung vorbereit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pre-cursor to extract method.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Introduced code is for now not-used, for now we want to have those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changes non-invasive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14454678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b51679a..556f9fb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8,16 +8,20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    return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 err="1">
                <a:solidFill>
                  <a:schemeClr val="accent2"/>
                </a:solidFill>
                <a:latin typeface="Arial" pitchFamily="18"/>
                <a:cs typeface="Arial" pitchFamily="18"/>
              </a:rPr>
              <a:t>Se</a:t>
            </a:r>
            <a:r>
              <a:rPr lang="de-DE" kern="0" dirty="0" err="1"/>
              <a:t>am</a:t>
            </a:r>
            <a:r>
              <a:rPr lang="de-DE" kern="0" dirty="0"/>
              <a:t>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Create seam with extract method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This way, unit tests in the same package can query the core business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logic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11003124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556f9fb..11541a9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5,7 +15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1f1e54b..fdec1db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7,6 +7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Shoul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access_to_old_peopl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.main(null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0, 1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ichtbarkeit anpass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Create seam with extract method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This way, unit tests in the same package can query the core business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logic directly and verify proper behavior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36982869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fdec1db..d3a99a8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,13 +1,1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import stat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Assertions.assertEqual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import stat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Assertions.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impor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Tes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Shoul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access_to_old_peopl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.main(null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0, 1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Unittest 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mprove unit test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 minimal-viable unit test. Normally, more tests are needed for a better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safety-net - for the purpose of this lecture unit, this single unit 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is barely-sufficient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11273148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11541a9..389248e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6,8 +16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return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7f8a9d8..6c0e95e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9,4 +19,9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String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"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"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feature-envy statement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State the actual intent of the statement and implement stubs.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4616376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new file mode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0000000..a9a355d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/dev/null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0,0 +1,13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impor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java.math.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public class Money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final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val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final String currency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Money(String value, String currency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valu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currency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onzept „Money“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3177309"/>
            <a:ext cx="3597909" cy="31154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class Money for concept money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Realize,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.isUserAllowedToVisitThe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is talking abou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, but up until this point the code uses Integer. The concept of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 is better represented by the class Money.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For now, introduce the class Money without any connection to actual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ctive code. This way, we "stay green" and don't break any currentl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deployed code.</a:t>
            </a:r>
            <a:endParaRPr lang="de-DE" sz="1200" b="1" kern="0" dirty="0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741ADF5D-67E5-49E1-84A3-B07962F04F07}"/>
              </a:ext>
            </a:extLst>
          </p:cNvPr>
          <p:cNvSpPr/>
          <p:nvPr/>
        </p:nvSpPr>
        <p:spPr>
          <a:xfrm>
            <a:off x="8728365" y="2336799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1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8000415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ce792c..079ac8f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7,6 +17,10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12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EntryFee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new Money("12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String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nam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onzept „Money“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3177309"/>
            <a:ext cx="3597909" cy="31154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class Money for concept money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Realize,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.isUserAllowedToVisitThe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is talking abou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, but up until this point the code uses Integer. The concept of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 is better represented by the class Money.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For now, introduce the class Money without any connection to actual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ctive code. This way, we "stay green" and don't break any currentl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deployed code.</a:t>
            </a:r>
            <a:endParaRPr lang="de-DE" sz="1200" b="1" kern="0" dirty="0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741ADF5D-67E5-49E1-84A3-B07962F04F07}"/>
              </a:ext>
            </a:extLst>
          </p:cNvPr>
          <p:cNvSpPr/>
          <p:nvPr/>
        </p:nvSpPr>
        <p:spPr>
          <a:xfrm>
            <a:off x="8728365" y="2336799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2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11194923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5d63a9..4646776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,6 +1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Wallet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Money value = new Money("0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// TODO Auto-generated method stub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Code sprechend mach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onzept „Money“ einfüh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3177309"/>
            <a:ext cx="3597909" cy="31154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ntroduce class Money for concept money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Realize,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.isUserAllowedToVisitThe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is talking abou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, but up until this point the code uses Integer. The concept of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 is better represented by the class Money.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For now, introduce the class Money without any connection to actual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ctive code. This way, we "stay green" and don't break any currently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deployed code.</a:t>
            </a:r>
            <a:endParaRPr lang="de-DE" sz="1200" b="1" kern="0" dirty="0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741ADF5D-67E5-49E1-84A3-B07962F04F07}"/>
              </a:ext>
            </a:extLst>
          </p:cNvPr>
          <p:cNvSpPr/>
          <p:nvPr/>
        </p:nvSpPr>
        <p:spPr>
          <a:xfrm>
            <a:off x="8728365" y="2336799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3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2377290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E523AD-4081-479D-A6A7-31F26251E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E523AD-4081-479D-A6A7-31F26251E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71DC48-1C3C-4B08-BE36-D9819EA659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0177C45-D7A8-454F-8499-4A4740AB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icherheitsnetz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817E3A9-3F91-42E2-9716-C35F715B9F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0F605-0CE1-4548-A242-3D4043D312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Fähigkeit Veränderungen durchzuführ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Ein Sicherheitsnetz verbessert die Beurteilungsfähigkeit ob etwas besser oder schlechter geworden i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CA10C3-4351-4AD6-BCD8-F70167BE2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ie muss ein Sicherheitsnetz aussehen, welches bei Legacy Code „Sicherheit“ bieten kann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3E9BF4-A97E-4F38-9EB1-603EC0FE4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/>
              <a:t>Sicherheitsnetz in </a:t>
            </a:r>
            <a:r>
              <a:rPr lang="de-DE" dirty="0" err="1"/>
              <a:t>java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Unit-tes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2592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89248e..d72318b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6,7 +16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return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6c0e95e..008e0dd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24,4 +24,9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Money pric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b="0" kern="0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Konzept Money verwend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Switch logic to use Money in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endParaRPr lang="de-DE" sz="1200" b="1" kern="0" dirty="0"/>
          </a:p>
        </p:txBody>
      </p:sp>
    </p:spTree>
    <p:extLst>
      <p:ext uri="{BB962C8B-B14F-4D97-AF65-F5344CB8AC3E}">
        <p14:creationId xmlns:p14="http://schemas.microsoft.com/office/powerpoint/2010/main" val="2624833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a9a355d..4d98e8f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0,4 +10,11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valu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currency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Money(Money money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for immutable classes: rule construct your own copy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here: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and String is immutable and the assignment operator creates an independent copy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ney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ney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Klasse Money für Verwendung vorbereit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Added ability to copy Money</a:t>
            </a:r>
            <a:endParaRPr lang="de-DE" sz="1000" b="1" kern="0" dirty="0"/>
          </a:p>
        </p:txBody>
      </p:sp>
    </p:spTree>
    <p:extLst>
      <p:ext uri="{BB962C8B-B14F-4D97-AF65-F5344CB8AC3E}">
        <p14:creationId xmlns:p14="http://schemas.microsoft.com/office/powerpoint/2010/main" val="41217826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4646776..3358064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3,6 +3,13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Wallet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rivate Money value = new Money("0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Wallet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Wallet(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value = new Money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0;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8856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Money in Wallet integrieren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Added ability to Wallet to fund with more than no money</a:t>
            </a:r>
            <a:endParaRPr lang="de-DE" sz="700" b="1" kern="0" dirty="0"/>
          </a:p>
        </p:txBody>
      </p:sp>
    </p:spTree>
    <p:extLst>
      <p:ext uri="{BB962C8B-B14F-4D97-AF65-F5344CB8AC3E}">
        <p14:creationId xmlns:p14="http://schemas.microsoft.com/office/powerpoint/2010/main" val="28814281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008e0dd..505e0cd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,13 +1,18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ackag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public class User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rivate final Walle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Wallet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rivate Walle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Wallet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rivate int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User(int ag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User(int age, 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Wallet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838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Nutzern die Möglichkeit geben eine unterschiedlich gefüllt Brieftasche zu geb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Dies dient der Vorbereitung der Verbesserung der Unittest</a:t>
            </a:r>
            <a:endParaRPr lang="de-DE" b="1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Added ability to User to have a non-empty Wallet</a:t>
            </a:r>
            <a:endParaRPr lang="de-DE" sz="400" b="1" kern="0" dirty="0"/>
          </a:p>
        </p:txBody>
      </p:sp>
    </p:spTree>
    <p:extLst>
      <p:ext uri="{BB962C8B-B14F-4D97-AF65-F5344CB8AC3E}">
        <p14:creationId xmlns:p14="http://schemas.microsoft.com/office/powerpoint/2010/main" val="9298885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10261600" cy="357086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d3a99a8..9bb7a02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3,4 +13,24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eny_entry_if_visitor_does_have_insufficient_fund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Fals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@Test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void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, new Money("20.00", "EUR"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TODO missing logic prevents from setting this test to active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Tr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//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Zwei Unittest hinzufüg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Der zweite auskommentiert, weil die </a:t>
            </a:r>
            <a:r>
              <a:rPr lang="de-DE" kern="0" dirty="0" err="1"/>
              <a:t>Codeunterstüzung</a:t>
            </a:r>
            <a:r>
              <a:rPr lang="de-DE" kern="0" dirty="0"/>
              <a:t> noch fehlt – dieser ist nun Design-Richtlinie für den Cod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mprove the safety-net by adding unit test</a:t>
            </a:r>
            <a:endParaRPr lang="de-DE" sz="200" b="1" kern="0" dirty="0"/>
          </a:p>
        </p:txBody>
      </p:sp>
    </p:spTree>
    <p:extLst>
      <p:ext uri="{BB962C8B-B14F-4D97-AF65-F5344CB8AC3E}">
        <p14:creationId xmlns:p14="http://schemas.microsoft.com/office/powerpoint/2010/main" val="4037539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4d98e8f..d95ea60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7,4 +17,10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ney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ney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for immutable classes: rule construct a copy of a value before returning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// here: sinc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is already immutable, returning plainly is okay.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val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505e0cd..3dfbde0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31,7 +31,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Money pric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.contain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pric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Unittest mit Wallet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Aktivieren des Unittests nachdem die notwendige Codeunterstützung existier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mplement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In order to have this test green, we implement minimal sufficient logic,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nd for training-purpose we introduce another feature-envy situation in</a:t>
            </a:r>
          </a:p>
          <a:p>
            <a:pPr algn="l"/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.contain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Money price).</a:t>
            </a:r>
            <a:endParaRPr lang="de-DE" sz="200" b="1" kern="0" dirty="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DC61747A-F615-4F10-95BC-2BDC194E7B88}"/>
              </a:ext>
            </a:extLst>
          </p:cNvPr>
          <p:cNvSpPr/>
          <p:nvPr/>
        </p:nvSpPr>
        <p:spPr>
          <a:xfrm>
            <a:off x="8793191" y="3409180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1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217243621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358064..05961be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5,4 +15,9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0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contains(Money pric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.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mpareTo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rice.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&gt;= 0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Unittest mit Wallet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Aktivieren des Unittests nachdem die notwendige Codeunterstützung existier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mplement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In order to have this test green, we implement minimal sufficient logic,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nd for training-purpose we introduce another feature-envy situation in</a:t>
            </a:r>
          </a:p>
          <a:p>
            <a:pPr algn="l"/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.contain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Money price).</a:t>
            </a:r>
            <a:endParaRPr lang="de-DE" sz="200" b="1" kern="0" dirty="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DC61747A-F615-4F10-95BC-2BDC194E7B88}"/>
              </a:ext>
            </a:extLst>
          </p:cNvPr>
          <p:cNvSpPr/>
          <p:nvPr/>
        </p:nvSpPr>
        <p:spPr>
          <a:xfrm>
            <a:off x="8793191" y="3409180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2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2808673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 b/feature-envy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index 9bb7a02..aeb6685 100644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test/java/de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Should.java</a:t>
            </a:r>
          </a:p>
          <a:p>
            <a:pPr algn="l"/>
            <a:r>
              <a:rPr lang="en-US" sz="900" dirty="0">
                <a:solidFill>
                  <a:srgbClr val="999999"/>
                </a:solidFill>
                <a:latin typeface="Consolas" panose="020B0609020204030204" pitchFamily="49" charset="0"/>
              </a:rPr>
              <a:t>@@ -1,6 +1,7 @@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package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de.codingakademie.featureenvy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import static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Assertions.assertFals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import static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Assertions.assertTru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import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junit.jupiter.api.Test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900" dirty="0">
                <a:solidFill>
                  <a:srgbClr val="999999"/>
                </a:solidFill>
                <a:latin typeface="Consolas" panose="020B0609020204030204" pitchFamily="49" charset="0"/>
              </a:rPr>
              <a:t>@@ -23,14 +24,12 @@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Fals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@Test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void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User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, new Money("20.00", "EUR")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Movie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TODO missing logic prevents from setting this test to active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Tru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-    // }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    @Test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    void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doorman = new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        User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, new Money("20.00", "EUR")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        Movie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Tru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doorman.isUserAllowedToVisitTheMovie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9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, movie));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9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Sicherheitsnetz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Unittest mit Wallet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Aktivieren des Unittests nachdem die notwendige Codeunterstützung existier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Implement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permit_entry_if_visitor_does_have_sufficient_funds</a:t>
            </a:r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In order to have this test green, we implement minimal sufficient logic,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nd for training-purpose we introduce another feature-envy situation in</a:t>
            </a:r>
          </a:p>
          <a:p>
            <a:pPr algn="l"/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.contain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Money price).</a:t>
            </a:r>
            <a:endParaRPr lang="de-DE" sz="200" b="1" kern="0" dirty="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DC61747A-F615-4F10-95BC-2BDC194E7B88}"/>
              </a:ext>
            </a:extLst>
          </p:cNvPr>
          <p:cNvSpPr/>
          <p:nvPr/>
        </p:nvSpPr>
        <p:spPr>
          <a:xfrm>
            <a:off x="8793191" y="3409180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3. Teil des commit</a:t>
            </a:r>
          </a:p>
        </p:txBody>
      </p:sp>
    </p:spTree>
    <p:extLst>
      <p:ext uri="{BB962C8B-B14F-4D97-AF65-F5344CB8AC3E}">
        <p14:creationId xmlns:p14="http://schemas.microsoft.com/office/powerpoint/2010/main" val="36425827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05961be..f16ec27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0,14 +10,8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value = new Money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nitialWalletFund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Amoun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return 0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contains(Money pric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.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mpareTo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rice.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&gt;= 0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Entferne nicht mehr verwendeten Cod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unused method from Wallet</a:t>
            </a:r>
            <a:endParaRPr lang="de-DE" sz="100" b="1" kern="0" dirty="0"/>
          </a:p>
        </p:txBody>
      </p:sp>
    </p:spTree>
    <p:extLst>
      <p:ext uri="{BB962C8B-B14F-4D97-AF65-F5344CB8AC3E}">
        <p14:creationId xmlns:p14="http://schemas.microsoft.com/office/powerpoint/2010/main" val="144517142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3dfbde0..0667b0d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25,11 +25,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"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"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// TODO Auto-generated method stub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return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Money pric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wallet.contains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pric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Entferne nicht mehr verwendeten Cod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unused method from User</a:t>
            </a:r>
            <a:endParaRPr lang="de-DE" sz="100" b="1" kern="0" dirty="0"/>
          </a:p>
        </p:txBody>
      </p:sp>
    </p:spTree>
    <p:extLst>
      <p:ext uri="{BB962C8B-B14F-4D97-AF65-F5344CB8AC3E}">
        <p14:creationId xmlns:p14="http://schemas.microsoft.com/office/powerpoint/2010/main" val="2037692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Zur Erinnerung – ein einfacher </a:t>
            </a:r>
            <a:r>
              <a:rPr lang="de-DE" dirty="0" err="1"/>
              <a:t>unit</a:t>
            </a:r>
            <a:r>
              <a:rPr lang="de-DE" dirty="0"/>
              <a:t>-tes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Tes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noDiscountLessThan10Visits(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giv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MembershipCard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LocalDate.</a:t>
            </a:r>
            <a:r>
              <a:rPr lang="en-US" sz="14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of</a:t>
            </a:r>
            <a:r>
              <a:rPr lang="en-US" sz="14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1970, 5, 22)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setNumberOfVisits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3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u="sng" dirty="0" err="1">
                <a:solidFill>
                  <a:srgbClr val="000000"/>
                </a:solidFill>
                <a:latin typeface="Consolas" panose="020B0609020204030204" pitchFamily="49" charset="0"/>
              </a:rPr>
              <a:t>createTicketMachine</a:t>
            </a:r>
            <a:r>
              <a:rPr lang="en-US" sz="1400" u="sng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w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String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400" dirty="0" err="1">
                <a:solidFill>
                  <a:srgbClr val="6A3E3E"/>
                </a:solidFill>
                <a:latin typeface="Consolas" panose="020B0609020204030204" pitchFamily="49" charset="0"/>
              </a:rPr>
              <a:t>ticketMachine</a:t>
            </a:r>
            <a:r>
              <a:rPr lang="en-US" sz="1400" dirty="0" err="1">
                <a:solidFill>
                  <a:srgbClr val="000000"/>
                </a:solidFill>
                <a:latin typeface="Consolas" panose="020B0609020204030204" pitchFamily="49" charset="0"/>
              </a:rPr>
              <a:t>.displayTicketPrice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dirty="0">
                <a:solidFill>
                  <a:srgbClr val="2A00FF"/>
                </a:solidFill>
                <a:latin typeface="Consolas" panose="020B0609020204030204" pitchFamily="49" charset="0"/>
              </a:rPr>
              <a:t>"DISCOUNT"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dirty="0">
                <a:solidFill>
                  <a:srgbClr val="6A3E3E"/>
                </a:solidFill>
                <a:latin typeface="Consolas" panose="020B0609020204030204" pitchFamily="49" charset="0"/>
              </a:rPr>
              <a:t>card</a:t>
            </a:r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endParaRPr lang="en-US" sz="1400" dirty="0">
              <a:latin typeface="Consolas" panose="020B0609020204030204" pitchFamily="49" charset="0"/>
            </a:endParaRP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dirty="0">
                <a:solidFill>
                  <a:srgbClr val="3F7F5F"/>
                </a:solidFill>
                <a:latin typeface="Consolas" panose="020B0609020204030204" pitchFamily="49" charset="0"/>
              </a:rPr>
              <a:t>// then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assertEquals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i="1" dirty="0">
                <a:solidFill>
                  <a:srgbClr val="2A00FF"/>
                </a:solidFill>
                <a:latin typeface="Consolas" panose="020B0609020204030204" pitchFamily="49" charset="0"/>
              </a:rPr>
              <a:t>"please pay 10,00"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i="1" dirty="0">
                <a:solidFill>
                  <a:srgbClr val="6A3E3E"/>
                </a:solidFill>
                <a:latin typeface="Consolas" panose="020B0609020204030204" pitchFamily="49" charset="0"/>
              </a:rPr>
              <a:t>display</a:t>
            </a:r>
            <a:r>
              <a:rPr lang="en-US" sz="1400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</p:txBody>
      </p:sp>
    </p:spTree>
    <p:extLst>
      <p:ext uri="{BB962C8B-B14F-4D97-AF65-F5344CB8AC3E}">
        <p14:creationId xmlns:p14="http://schemas.microsoft.com/office/powerpoint/2010/main" val="38019405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079ac8f..612f307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3,10 +13,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inimum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in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return 12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EntryFee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new Money("12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Entferne nicht mehr verwendeten Cod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ununsed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method from Movie</a:t>
            </a:r>
            <a:endParaRPr lang="de-DE" sz="100" b="1" kern="0" dirty="0"/>
          </a:p>
        </p:txBody>
      </p:sp>
    </p:spTree>
    <p:extLst>
      <p:ext uri="{BB962C8B-B14F-4D97-AF65-F5344CB8AC3E}">
        <p14:creationId xmlns:p14="http://schemas.microsoft.com/office/powerpoint/2010/main" val="227051906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d72318b..f4c68fc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6,7 +16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 movi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EntryFee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canPa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&gt;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AgeRat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 return tr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612f307..5d0099b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vie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3,7 +13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inimumAg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EntryFee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entryFe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new Money("12.00", "EUR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Methodennamen im Code verbessern und nicht mehr verwendeten Code entfern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name method in Movie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Note: As the "other" fee method in Movie has been removed, we can rename the renaming method. Now, the condition in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CinemaDoorman.isUserAllowedToVisitTheMovie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() sounds more natural.</a:t>
            </a:r>
          </a:p>
        </p:txBody>
      </p:sp>
    </p:spTree>
    <p:extLst>
      <p:ext uri="{BB962C8B-B14F-4D97-AF65-F5344CB8AC3E}">
        <p14:creationId xmlns:p14="http://schemas.microsoft.com/office/powerpoint/2010/main" val="18750392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f4c68fc..b340d36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7,8 +7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fals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 err="1"/>
              <a:t>Refactoring</a:t>
            </a:r>
            <a:r>
              <a:rPr lang="de-DE" kern="0" dirty="0"/>
              <a:t>: eine explizite Variable bringt hier keine Übersichtlichkeit und keinen anderen Vorteil </a:t>
            </a:r>
            <a:r>
              <a:rPr lang="de-DE" kern="0" dirty="0">
                <a:sym typeface="Wingdings" panose="05000000000000000000" pitchFamily="2" charset="2"/>
              </a:rPr>
              <a:t> inline (Teil 1)</a:t>
            </a:r>
            <a:endParaRPr lang="de-DE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factor - inline variable</a:t>
            </a:r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9F09D0D1-5460-400A-B1B7-D62AAAA69556}"/>
              </a:ext>
            </a:extLst>
          </p:cNvPr>
          <p:cNvSpPr/>
          <p:nvPr/>
        </p:nvSpPr>
        <p:spPr>
          <a:xfrm>
            <a:off x="8793191" y="3409180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Erster Teil des </a:t>
            </a:r>
            <a:r>
              <a:rPr lang="de-DE" dirty="0" err="1">
                <a:solidFill>
                  <a:schemeClr val="tx2"/>
                </a:solidFill>
              </a:rPr>
              <a:t>Refactoring</a:t>
            </a:r>
            <a:endParaRPr lang="de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1541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b340d36..13394cf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CinemaDoorman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7,9 +7,7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User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User(18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Movi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new Movie("Horror of the Code"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userIsAllow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if 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UserAllowedToVisitTheMov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, movie)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out.printl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+ " visits " +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vie.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 err="1"/>
              <a:t>Refactoring</a:t>
            </a:r>
            <a:r>
              <a:rPr lang="de-DE" kern="0" dirty="0"/>
              <a:t>: eine explizite Variable bringt hier keine Übersichtlichkeit und keinen anderen Vorteil </a:t>
            </a:r>
            <a:r>
              <a:rPr lang="de-DE" kern="0" dirty="0">
                <a:sym typeface="Wingdings" panose="05000000000000000000" pitchFamily="2" charset="2"/>
              </a:rPr>
              <a:t> inline (Teil 2)</a:t>
            </a:r>
            <a:endParaRPr lang="de-DE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5"/>
            <a:ext cx="3597909" cy="1948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factor - inline variable</a:t>
            </a:r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1365983A-637E-48CF-8762-C32949A70186}"/>
              </a:ext>
            </a:extLst>
          </p:cNvPr>
          <p:cNvSpPr/>
          <p:nvPr/>
        </p:nvSpPr>
        <p:spPr>
          <a:xfrm>
            <a:off x="8793191" y="3409180"/>
            <a:ext cx="2826326" cy="548449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Zweiter Teil des </a:t>
            </a:r>
            <a:r>
              <a:rPr lang="de-DE" dirty="0" err="1">
                <a:solidFill>
                  <a:schemeClr val="tx2"/>
                </a:solidFill>
              </a:rPr>
              <a:t>Refactoring</a:t>
            </a:r>
            <a:endParaRPr lang="de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07331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d95ea60..2ee7bb8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23,4 +23,8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// here: sinc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is already immutable, returning plainly is okay.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val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GreaterOrEqu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ther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.compareTo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therMoney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&gt;= 0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f16ec27..2e8ead8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Wallet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1,7 +11,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contains(Money price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.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            .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mpareTo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price.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) &gt;= 0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.isGreaterOrEqu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price)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Die Klasse Money verbessern, damit wird den Code im nächsten Schritt verbessern könn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Vermeidung von feature-</a:t>
            </a:r>
            <a:r>
              <a:rPr lang="de-DE" kern="0" dirty="0" err="1"/>
              <a:t>envy</a:t>
            </a:r>
            <a:endParaRPr lang="de-DE" kern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4"/>
            <a:ext cx="3597909" cy="21122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feature-envies from Wallet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Adding a comparing function to Money solves the feature-envy-problem in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allet.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To validate: the concept of money supports comparability of more or less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money by nature, therefore the introduction of this function is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justified.</a:t>
            </a:r>
          </a:p>
        </p:txBody>
      </p:sp>
    </p:spTree>
    <p:extLst>
      <p:ext uri="{BB962C8B-B14F-4D97-AF65-F5344CB8AC3E}">
        <p14:creationId xmlns:p14="http://schemas.microsoft.com/office/powerpoint/2010/main" val="33482520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2ee7bb8..a3d19e3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oney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8,12 +18,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this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money.currenc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m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// for immutable classes: rule construct a copy of a value before returning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// here: since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igDeci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is already immutable, returning plainly is okay.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return valu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boolea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isGreaterOrEqual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Money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therMone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value.compareTo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otherMoney.valu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) &gt;= 0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Nicht mehr verwendete Methode entfern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Damit werden zukünftigen feature-</a:t>
            </a:r>
            <a:r>
              <a:rPr lang="de-DE" kern="0" dirty="0" err="1"/>
              <a:t>envy</a:t>
            </a:r>
            <a:r>
              <a:rPr lang="de-DE" kern="0" dirty="0"/>
              <a:t> Situationen vorgebeug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4"/>
            <a:ext cx="3597909" cy="21122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unused method from Money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By removal of this method, we effectively prevent future (accidental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feature-envy situations.</a:t>
            </a:r>
          </a:p>
        </p:txBody>
      </p:sp>
    </p:spTree>
    <p:extLst>
      <p:ext uri="{BB962C8B-B14F-4D97-AF65-F5344CB8AC3E}">
        <p14:creationId xmlns:p14="http://schemas.microsoft.com/office/powerpoint/2010/main" val="24693085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244774"/>
            <a:ext cx="10261600" cy="384721"/>
          </a:xfrm>
        </p:spPr>
        <p:txBody>
          <a:bodyPr/>
          <a:lstStyle/>
          <a:p>
            <a:pPr lvl="0"/>
            <a:r>
              <a:rPr lang="de-DE" dirty="0"/>
              <a:t>Feature </a:t>
            </a:r>
            <a:r>
              <a:rPr lang="de-DE" dirty="0" err="1"/>
              <a:t>envy</a:t>
            </a:r>
            <a:r>
              <a:rPr lang="de-DE" dirty="0"/>
              <a:t> auflös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1690261"/>
            <a:ext cx="9840335" cy="5024575"/>
          </a:xfrm>
        </p:spPr>
        <p:txBody>
          <a:bodyPr/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diff --git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index 0667b0d..780a618 100644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-- a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+++ b/feature-envy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src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main/java/de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codingakademi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featureenvy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/User.java</a:t>
            </a:r>
          </a:p>
          <a:p>
            <a:pPr algn="l"/>
            <a:r>
              <a:rPr lang="en-US" sz="1000" dirty="0">
                <a:solidFill>
                  <a:srgbClr val="999999"/>
                </a:solidFill>
                <a:latin typeface="Consolas" panose="020B0609020204030204" pitchFamily="49" charset="0"/>
              </a:rPr>
              <a:t>@@ -17,10 +17,6 @@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age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public Wallet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Wallet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    return wallet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    }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-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public String 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getName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()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    return "</a:t>
            </a:r>
            <a:r>
              <a:rPr lang="en-US" sz="1000" dirty="0" err="1">
                <a:solidFill>
                  <a:srgbClr val="000000"/>
                </a:solidFill>
                <a:latin typeface="Consolas" panose="020B0609020204030204" pitchFamily="49" charset="0"/>
              </a:rPr>
              <a:t>anton</a:t>
            </a:r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";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 }</a:t>
            </a:r>
          </a:p>
          <a:p>
            <a:pPr algn="l"/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8407400" y="1249432"/>
            <a:ext cx="3597909" cy="17523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b="1" kern="0" dirty="0"/>
              <a:t>Code verbesser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Nicht mehr verwendete Methode entfern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kern="0" dirty="0"/>
              <a:t>Damit werden zukünftigen feature-</a:t>
            </a:r>
            <a:r>
              <a:rPr lang="de-DE" kern="0" dirty="0" err="1"/>
              <a:t>envy</a:t>
            </a:r>
            <a:r>
              <a:rPr lang="de-DE" kern="0" dirty="0"/>
              <a:t> Situationen vorgebeug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623143-6E2A-40F9-A386-469CA6043D4A}"/>
              </a:ext>
            </a:extLst>
          </p:cNvPr>
          <p:cNvSpPr/>
          <p:nvPr/>
        </p:nvSpPr>
        <p:spPr>
          <a:xfrm rot="16200000">
            <a:off x="-2432658" y="3671194"/>
            <a:ext cx="5619464" cy="7541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cap="all" dirty="0">
                <a:solidFill>
                  <a:schemeClr val="accent2"/>
                </a:solidFill>
                <a:latin typeface="Arial" pitchFamily="18"/>
                <a:cs typeface="Arial" pitchFamily="18"/>
              </a:rPr>
              <a:t>Solution Idea – step-by-step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B90C4EA-A584-4E41-A0A9-A53B28E805C2}"/>
              </a:ext>
            </a:extLst>
          </p:cNvPr>
          <p:cNvSpPr txBox="1">
            <a:spLocks/>
          </p:cNvSpPr>
          <p:nvPr/>
        </p:nvSpPr>
        <p:spPr>
          <a:xfrm>
            <a:off x="8407401" y="4343904"/>
            <a:ext cx="3597909" cy="21122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Working on feature-envy: Remove unused method from User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Reducing the risk of future feature-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envyness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towards User.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ECE40A14-F9FB-4302-BC81-8FA6ACF9CF49}"/>
              </a:ext>
            </a:extLst>
          </p:cNvPr>
          <p:cNvSpPr/>
          <p:nvPr/>
        </p:nvSpPr>
        <p:spPr>
          <a:xfrm>
            <a:off x="1320800" y="5310910"/>
            <a:ext cx="6400972" cy="1145204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tx2"/>
                </a:solidFill>
              </a:rPr>
              <a:t>Letzter Commit dieses </a:t>
            </a:r>
            <a:r>
              <a:rPr lang="de-DE" dirty="0" err="1">
                <a:solidFill>
                  <a:schemeClr val="tx2"/>
                </a:solidFill>
              </a:rPr>
              <a:t>Refactorings</a:t>
            </a:r>
            <a:endParaRPr lang="de-DE" dirty="0">
              <a:solidFill>
                <a:schemeClr val="tx2"/>
              </a:solidFill>
            </a:endParaRPr>
          </a:p>
          <a:p>
            <a:r>
              <a:rPr lang="de-DE" dirty="0">
                <a:solidFill>
                  <a:schemeClr val="tx2"/>
                </a:solidFill>
              </a:rPr>
              <a:t>Dieses </a:t>
            </a:r>
            <a:r>
              <a:rPr lang="de-DE" dirty="0" err="1">
                <a:solidFill>
                  <a:schemeClr val="tx2"/>
                </a:solidFill>
              </a:rPr>
              <a:t>Refactoring</a:t>
            </a:r>
            <a:r>
              <a:rPr lang="de-DE" dirty="0">
                <a:solidFill>
                  <a:schemeClr val="tx2"/>
                </a:solidFill>
              </a:rPr>
              <a:t> hat sich über 21 </a:t>
            </a:r>
            <a:r>
              <a:rPr lang="de-DE" dirty="0" err="1">
                <a:solidFill>
                  <a:schemeClr val="tx2"/>
                </a:solidFill>
              </a:rPr>
              <a:t>Commits</a:t>
            </a:r>
            <a:r>
              <a:rPr lang="de-DE" dirty="0">
                <a:solidFill>
                  <a:schemeClr val="tx2"/>
                </a:solidFill>
              </a:rPr>
              <a:t> erstreckt</a:t>
            </a:r>
          </a:p>
        </p:txBody>
      </p:sp>
    </p:spTree>
    <p:extLst>
      <p:ext uri="{BB962C8B-B14F-4D97-AF65-F5344CB8AC3E}">
        <p14:creationId xmlns:p14="http://schemas.microsoft.com/office/powerpoint/2010/main" val="2786111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3963"/>
            <a:ext cx="12193588" cy="5634037"/>
          </a:xfrm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555309"/>
            <a:ext cx="8602662" cy="2708434"/>
          </a:xfrm>
        </p:spPr>
        <p:txBody>
          <a:bodyPr/>
          <a:lstStyle/>
          <a:p>
            <a:pPr lvl="0"/>
            <a:r>
              <a:rPr lang="de-DE" sz="88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de Coverag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AE613AA-ED01-4C6B-8C8C-8F73A839870C}"/>
              </a:ext>
            </a:extLst>
          </p:cNvPr>
          <p:cNvSpPr txBox="1"/>
          <p:nvPr/>
        </p:nvSpPr>
        <p:spPr>
          <a:xfrm>
            <a:off x="8377381" y="6574139"/>
            <a:ext cx="37314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Photo by </a:t>
            </a:r>
            <a:r>
              <a:rPr lang="en-US" sz="8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iel</a:t>
            </a:r>
            <a:r>
              <a:rPr lang="en-US" sz="800" dirty="0">
                <a:solidFill>
                  <a:schemeClr val="bg1"/>
                </a:solidFill>
              </a:rPr>
              <a:t> on </a:t>
            </a:r>
            <a:r>
              <a:rPr lang="en-US" sz="800" dirty="0" err="1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r>
              <a:rPr lang="en-US" sz="8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38343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ist Code Coverage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e Code Coverage Analyse/Darstellung zeigt, welcher Code zur Ausführung komm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Code wurde überhaupt nicht ausgeführt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Welcher wurde sehr häufig ausgeführt?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Aufwände</a:t>
            </a:r>
            <a:r>
              <a:rPr lang="de-DE" dirty="0"/>
              <a:t> für das Erstellen von Unittest </a:t>
            </a:r>
            <a:r>
              <a:rPr lang="de-DE" b="1" dirty="0">
                <a:solidFill>
                  <a:schemeClr val="accent6"/>
                </a:solidFill>
              </a:rPr>
              <a:t>zu lenken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Mit Hilfe von Code Coverage ist es möglich </a:t>
            </a:r>
            <a:r>
              <a:rPr lang="de-DE" b="1" dirty="0">
                <a:solidFill>
                  <a:schemeClr val="accent6"/>
                </a:solidFill>
              </a:rPr>
              <a:t>gezielt</a:t>
            </a:r>
            <a:r>
              <a:rPr lang="de-DE" dirty="0"/>
              <a:t> </a:t>
            </a:r>
            <a:r>
              <a:rPr lang="de-DE" dirty="0" err="1"/>
              <a:t>refactoring</a:t>
            </a:r>
            <a:r>
              <a:rPr lang="de-DE" dirty="0"/>
              <a:t> </a:t>
            </a:r>
            <a:r>
              <a:rPr lang="de-DE" b="1" dirty="0">
                <a:solidFill>
                  <a:schemeClr val="accent6"/>
                </a:solidFill>
              </a:rPr>
              <a:t>zu planen und durchzuführe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838488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Simple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doMagic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,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if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&gt; 100)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9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else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</a:t>
            </a:r>
            <a:r>
              <a:rPr lang="en-US" sz="1400" b="1" dirty="0">
                <a:solidFill>
                  <a:srgbClr val="7F0055"/>
                </a:solidFill>
                <a:latin typeface="Consolas" panose="020B0609020204030204" pitchFamily="49" charset="0"/>
              </a:rPr>
              <a:t>return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a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3 + </a:t>
            </a:r>
            <a:r>
              <a:rPr lang="en-US" sz="1400" b="1" dirty="0">
                <a:solidFill>
                  <a:srgbClr val="6A3E3E"/>
                </a:solidFill>
                <a:latin typeface="Consolas" panose="020B0609020204030204" pitchFamily="49" charset="0"/>
              </a:rPr>
              <a:t>b</a:t>
            </a:r>
            <a:r>
              <a:rPr lang="en-US" sz="1400" b="1" dirty="0">
                <a:solidFill>
                  <a:srgbClr val="000000"/>
                </a:solidFill>
                <a:latin typeface="Consolas" panose="020B0609020204030204" pitchFamily="49" charset="0"/>
              </a:rPr>
              <a:t> * 5;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4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  <a:endParaRPr lang="en-US" sz="8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Welche </a:t>
            </a:r>
            <a:r>
              <a:rPr lang="de-DE" kern="0" dirty="0" err="1"/>
              <a:t>branches</a:t>
            </a:r>
            <a:r>
              <a:rPr lang="de-DE" kern="0" dirty="0"/>
              <a:t> gibt 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iesen Code in die IDE abtipp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Den Code zur Ausführung br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Code Coverage Tool (ggf. in der IDE) aktivieren und die </a:t>
            </a:r>
            <a:r>
              <a:rPr lang="de-DE" kern="0" dirty="0" err="1"/>
              <a:t>branches</a:t>
            </a:r>
            <a:r>
              <a:rPr lang="de-DE" kern="0" dirty="0"/>
              <a:t> anschau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Mehrere Unittest schreiben, welche alle </a:t>
            </a:r>
            <a:r>
              <a:rPr lang="de-DE" kern="0" dirty="0" err="1"/>
              <a:t>branches</a:t>
            </a:r>
            <a:r>
              <a:rPr lang="de-DE" kern="0" dirty="0"/>
              <a:t> abgedeckt sind</a:t>
            </a:r>
          </a:p>
        </p:txBody>
      </p:sp>
    </p:spTree>
    <p:extLst>
      <p:ext uri="{BB962C8B-B14F-4D97-AF65-F5344CB8AC3E}">
        <p14:creationId xmlns:p14="http://schemas.microsoft.com/office/powerpoint/2010/main" val="29370759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</a:rPr>
              <a:t>Sicherheitsnetz in komplexen </a:t>
            </a:r>
            <a:r>
              <a:rPr lang="de-DE" dirty="0" err="1">
                <a:solidFill>
                  <a:schemeClr val="bg2"/>
                </a:solidFill>
              </a:rPr>
              <a:t>legacy</a:t>
            </a:r>
            <a:r>
              <a:rPr lang="de-DE" dirty="0">
                <a:solidFill>
                  <a:schemeClr val="bg2"/>
                </a:solidFill>
              </a:rPr>
              <a:t> </a:t>
            </a:r>
            <a:r>
              <a:rPr lang="de-DE" dirty="0" err="1">
                <a:solidFill>
                  <a:schemeClr val="bg2"/>
                </a:solidFill>
              </a:rPr>
              <a:t>systemen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Legacy System kennzeichnen sich häufig durch fehlende oder zu wenig Tests aus.</a:t>
            </a:r>
          </a:p>
          <a:p>
            <a:pPr lvl="0"/>
            <a:r>
              <a:rPr lang="de-DE" dirty="0"/>
              <a:t>Gleichzeitig eine hohe Komplexität.</a:t>
            </a:r>
          </a:p>
          <a:p>
            <a:pPr lvl="0"/>
            <a:r>
              <a:rPr lang="de-DE" dirty="0"/>
              <a:t>Gleichzeitig ein komplexes Softwaredesign, welches das Erstellen von Tests nicht begünstigt.</a:t>
            </a:r>
          </a:p>
          <a:p>
            <a:pPr lvl="0"/>
            <a:endParaRPr lang="de-DE" dirty="0"/>
          </a:p>
          <a:p>
            <a:pPr lvl="0"/>
            <a:r>
              <a:rPr lang="de-DE" b="1" dirty="0"/>
              <a:t>Der </a:t>
            </a:r>
            <a:r>
              <a:rPr lang="de-DE" b="1" dirty="0">
                <a:solidFill>
                  <a:schemeClr val="accent6"/>
                </a:solidFill>
              </a:rPr>
              <a:t>Golden Master</a:t>
            </a:r>
            <a:r>
              <a:rPr lang="de-DE" b="1" dirty="0"/>
              <a:t> Ansatz bietet eine Möglichkeit ein Sicherheitsnetz einzuziehen.</a:t>
            </a:r>
          </a:p>
        </p:txBody>
      </p:sp>
    </p:spTree>
    <p:extLst>
      <p:ext uri="{BB962C8B-B14F-4D97-AF65-F5344CB8AC3E}">
        <p14:creationId xmlns:p14="http://schemas.microsoft.com/office/powerpoint/2010/main" val="171834856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Schreibe einen Unittest mithilfe von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endParaRPr lang="en-US" sz="1050" dirty="0"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5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UserNotLoggedInExceptio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List&lt;Trip&gt;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User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</a:t>
            </a:r>
            <a:r>
              <a:rPr lang="en-US" sz="105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if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!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endParaRPr lang="en-US" sz="1050" b="1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4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trip-service-kata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endParaRPr lang="de-DE" kern="0" dirty="0"/>
          </a:p>
          <a:p>
            <a:pPr marL="342900" indent="-342900">
              <a:buFont typeface="+mj-lt"/>
              <a:buAutoNum type="arabicPeriod"/>
            </a:pPr>
            <a:r>
              <a:rPr lang="de-DE" kern="0" dirty="0"/>
              <a:t>Finde den </a:t>
            </a:r>
            <a:r>
              <a:rPr lang="de-DE" b="1" kern="0" dirty="0"/>
              <a:t>kürzesten</a:t>
            </a:r>
            <a:r>
              <a:rPr lang="de-DE" kern="0" dirty="0"/>
              <a:t> </a:t>
            </a:r>
            <a:r>
              <a:rPr lang="de-DE" kern="0" dirty="0" err="1"/>
              <a:t>branch</a:t>
            </a:r>
            <a:endParaRPr lang="de-DE" kern="0" dirty="0"/>
          </a:p>
          <a:p>
            <a:pPr marL="342900" indent="-342900">
              <a:buFont typeface="+mj-lt"/>
              <a:buAutoNum type="arabicPeriod"/>
            </a:pPr>
            <a:r>
              <a:rPr lang="de-DE" kern="0" dirty="0"/>
              <a:t>Schreibe hierfür einen Test</a:t>
            </a:r>
          </a:p>
        </p:txBody>
      </p:sp>
    </p:spTree>
    <p:extLst>
      <p:ext uri="{BB962C8B-B14F-4D97-AF65-F5344CB8AC3E}">
        <p14:creationId xmlns:p14="http://schemas.microsoft.com/office/powerpoint/2010/main" val="382450076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pPr lvl="0"/>
            <a:r>
              <a:rPr lang="de-DE" dirty="0" err="1"/>
              <a:t>Refactoring</a:t>
            </a:r>
            <a:r>
              <a:rPr lang="de-DE" dirty="0"/>
              <a:t> mithilfe von Code Coverag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TripServic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endParaRPr lang="en-US" sz="1050" dirty="0"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public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List&lt;Trip&gt;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TripsBy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(User </a:t>
            </a:r>
            <a:r>
              <a:rPr lang="en-US" sz="1050" b="1" dirty="0">
                <a:solidFill>
                  <a:srgbClr val="6A3E3E"/>
                </a:solidFill>
                <a:latin typeface="Consolas" panose="020B0609020204030204" pitchFamily="49" charset="0"/>
              </a:rPr>
              <a:t>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UserNotLoggedInExceptio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List&lt;Trip&gt;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tripList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ew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ArrayList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&lt;Trip&gt;();</a:t>
            </a:r>
          </a:p>
          <a:p>
            <a:pPr algn="l"/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   User </a:t>
            </a:r>
            <a:r>
              <a:rPr lang="en-US" sz="1050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dirty="0" err="1">
                <a:solidFill>
                  <a:srgbClr val="000000"/>
                </a:solidFill>
                <a:latin typeface="Consolas" panose="020B0609020204030204" pitchFamily="49" charset="0"/>
              </a:rPr>
              <a:t>UserSession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Instance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.</a:t>
            </a:r>
            <a:r>
              <a:rPr lang="en-US" sz="1050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getLoggedUser</a:t>
            </a:r>
            <a:r>
              <a:rPr lang="en-US" sz="1050" i="1" dirty="0">
                <a:solidFill>
                  <a:srgbClr val="000000"/>
                </a:solidFill>
                <a:latin typeface="Consolas" panose="020B0609020204030204" pitchFamily="49" charset="0"/>
              </a:rPr>
              <a:t>()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</a:t>
            </a:r>
            <a:r>
              <a:rPr lang="en-US" sz="1050" b="1" dirty="0" err="1">
                <a:solidFill>
                  <a:srgbClr val="7F0055"/>
                </a:solidFill>
                <a:latin typeface="Consolas" panose="020B0609020204030204" pitchFamily="49" charset="0"/>
              </a:rPr>
              <a:t>boolean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sFriend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false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;</a:t>
            </a:r>
          </a:p>
          <a:p>
            <a:pPr algn="l"/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    if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05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loggedUser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 != </a:t>
            </a:r>
            <a:r>
              <a:rPr lang="en-US" sz="1050" b="1" dirty="0">
                <a:solidFill>
                  <a:srgbClr val="7F0055"/>
                </a:solidFill>
                <a:latin typeface="Consolas" panose="020B0609020204030204" pitchFamily="49" charset="0"/>
              </a:rPr>
              <a:t>null</a:t>
            </a:r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endParaRPr lang="en-US" sz="1050" b="1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05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287744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/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/trip-service-kata/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endParaRPr lang="de-DE" kern="0" dirty="0"/>
          </a:p>
          <a:p>
            <a:pPr marL="342900" indent="-342900">
              <a:buFont typeface="+mj-lt"/>
              <a:buAutoNum type="arabicPeriod"/>
            </a:pPr>
            <a:r>
              <a:rPr lang="de-DE" kern="0" dirty="0"/>
              <a:t>Finde den </a:t>
            </a:r>
            <a:r>
              <a:rPr lang="de-DE" b="1" kern="0" dirty="0"/>
              <a:t>tiefsten</a:t>
            </a:r>
            <a:r>
              <a:rPr lang="de-DE" kern="0" dirty="0"/>
              <a:t> </a:t>
            </a:r>
            <a:r>
              <a:rPr lang="de-DE" kern="0" dirty="0" err="1"/>
              <a:t>branch</a:t>
            </a:r>
            <a:endParaRPr lang="de-DE" kern="0" dirty="0"/>
          </a:p>
          <a:p>
            <a:pPr marL="342900" indent="-342900">
              <a:buFont typeface="+mj-lt"/>
              <a:buAutoNum type="arabicPeriod"/>
            </a:pPr>
            <a:r>
              <a:rPr lang="de-DE" kern="0" dirty="0"/>
              <a:t>Betrachte die Funktionsweise und die Absicht</a:t>
            </a:r>
          </a:p>
          <a:p>
            <a:pPr marL="342900" indent="-342900">
              <a:buFont typeface="+mj-lt"/>
              <a:buAutoNum type="arabicPeriod"/>
            </a:pPr>
            <a:r>
              <a:rPr lang="de-DE" kern="0" dirty="0"/>
              <a:t>Ist ein </a:t>
            </a:r>
            <a:r>
              <a:rPr lang="de-DE" kern="0" dirty="0" err="1"/>
              <a:t>Refactoring</a:t>
            </a:r>
            <a:r>
              <a:rPr lang="de-DE" kern="0" dirty="0"/>
              <a:t> auf dieser Ebene sinnvoll oder auf einer der Ebenen darüber?</a:t>
            </a:r>
          </a:p>
          <a:p>
            <a:pPr marL="342900" indent="-342900">
              <a:buFont typeface="+mj-lt"/>
              <a:buAutoNum type="arabicPeriod"/>
            </a:pPr>
            <a:endParaRPr lang="de-DE" kern="0" dirty="0"/>
          </a:p>
          <a:p>
            <a:r>
              <a:rPr lang="de-DE" b="1" kern="0" dirty="0"/>
              <a:t>Hinwe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In der tiefsten Ebene sind häufig feature-</a:t>
            </a:r>
            <a:r>
              <a:rPr lang="de-DE" kern="0" dirty="0" err="1"/>
              <a:t>envies</a:t>
            </a:r>
            <a:r>
              <a:rPr lang="de-DE" kern="0" dirty="0"/>
              <a:t> anzutreffen</a:t>
            </a:r>
          </a:p>
        </p:txBody>
      </p:sp>
    </p:spTree>
    <p:extLst>
      <p:ext uri="{BB962C8B-B14F-4D97-AF65-F5344CB8AC3E}">
        <p14:creationId xmlns:p14="http://schemas.microsoft.com/office/powerpoint/2010/main" val="32589781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B073-A9B1-4439-8182-8A653469B4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B073-A9B1-4439-8182-8A653469B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2E138CE-FCD5-4616-BE15-E2F85813CB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09D8DA9-2C4B-4188-8291-DFB5B0870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Vorgehen, Vorteile und Nachtei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E058C3A-BBDD-4358-94ED-A744E261ED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1BDB83-0682-4851-9FD4-A268F8591D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44186"/>
            <a:ext cx="10261600" cy="3095625"/>
          </a:xfrm>
        </p:spPr>
        <p:txBody>
          <a:bodyPr/>
          <a:lstStyle/>
          <a:p>
            <a:pPr lvl="0"/>
            <a:r>
              <a:rPr lang="de-DE" b="1" dirty="0"/>
              <a:t>Vortei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/>
              <a:t>Test: </a:t>
            </a:r>
            <a:r>
              <a:rPr lang="de-DE" b="1" dirty="0"/>
              <a:t>Kürzester</a:t>
            </a:r>
            <a:r>
              <a:rPr lang="de-DE" dirty="0"/>
              <a:t> Branch zuerst </a:t>
            </a:r>
            <a:r>
              <a:rPr lang="de-DE" dirty="0">
                <a:sym typeface="Wingdings" panose="05000000000000000000" pitchFamily="2" charset="2"/>
              </a:rPr>
              <a:t> (normalerweise) einfachster Fall zuers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 err="1">
                <a:sym typeface="Wingdings" panose="05000000000000000000" pitchFamily="2" charset="2"/>
              </a:rPr>
              <a:t>Refactoring</a:t>
            </a:r>
            <a:r>
              <a:rPr lang="de-DE" dirty="0">
                <a:sym typeface="Wingdings" panose="05000000000000000000" pitchFamily="2" charset="2"/>
              </a:rPr>
              <a:t>: </a:t>
            </a:r>
            <a:r>
              <a:rPr lang="de-DE" b="1" dirty="0">
                <a:sym typeface="Wingdings" panose="05000000000000000000" pitchFamily="2" charset="2"/>
              </a:rPr>
              <a:t>Tiefster</a:t>
            </a:r>
            <a:r>
              <a:rPr lang="de-DE" dirty="0">
                <a:sym typeface="Wingdings" panose="05000000000000000000" pitchFamily="2" charset="2"/>
              </a:rPr>
              <a:t> Branch zuerst  Verbesserung der Klassen und Methoden, Fall-nach-Fal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Durch schreitweise Behandlung von Fällen vereinfacht sich der Code und verbessert sich das Sicherheitsnetz</a:t>
            </a:r>
          </a:p>
          <a:p>
            <a:pPr lvl="0"/>
            <a:r>
              <a:rPr lang="de-DE" b="1" dirty="0">
                <a:sym typeface="Wingdings" panose="05000000000000000000" pitchFamily="2" charset="2"/>
              </a:rPr>
              <a:t>Nachteil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Gegebenenfalls „zu“ komplex weil Implementierungsfehler und Implementierungsfreiheitsgrad übernommen werden, die fachlich nicht korrekt sin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dirty="0">
                <a:sym typeface="Wingdings" panose="05000000000000000000" pitchFamily="2" charset="2"/>
              </a:rPr>
              <a:t>Gefahr einer zu engen Kopplung von Tests an aktuellen Code</a:t>
            </a:r>
            <a:br>
              <a:rPr lang="de-DE" dirty="0">
                <a:sym typeface="Wingdings" panose="05000000000000000000" pitchFamily="2" charset="2"/>
              </a:rPr>
            </a:br>
            <a:r>
              <a:rPr lang="de-DE" dirty="0">
                <a:sym typeface="Wingdings" panose="05000000000000000000" pitchFamily="2" charset="2"/>
              </a:rPr>
              <a:t> Erfordert Mut </a:t>
            </a:r>
            <a:r>
              <a:rPr lang="de-DE" b="1" dirty="0">
                <a:sym typeface="Wingdings" panose="05000000000000000000" pitchFamily="2" charset="2"/>
              </a:rPr>
              <a:t>Codeverbesserungen</a:t>
            </a:r>
            <a:r>
              <a:rPr lang="de-DE" dirty="0">
                <a:sym typeface="Wingdings" panose="05000000000000000000" pitchFamily="2" charset="2"/>
              </a:rPr>
              <a:t> den </a:t>
            </a:r>
            <a:r>
              <a:rPr lang="de-DE" b="1" dirty="0">
                <a:sym typeface="Wingdings" panose="05000000000000000000" pitchFamily="2" charset="2"/>
              </a:rPr>
              <a:t>Vorrang</a:t>
            </a:r>
            <a:r>
              <a:rPr lang="de-DE" dirty="0">
                <a:sym typeface="Wingdings" panose="05000000000000000000" pitchFamily="2" charset="2"/>
              </a:rPr>
              <a:t> vor Menge an Tests zu geben</a:t>
            </a:r>
          </a:p>
        </p:txBody>
      </p:sp>
    </p:spTree>
    <p:extLst>
      <p:ext uri="{BB962C8B-B14F-4D97-AF65-F5344CB8AC3E}">
        <p14:creationId xmlns:p14="http://schemas.microsoft.com/office/powerpoint/2010/main" val="131941329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ie gut ist unsere </a:t>
            </a:r>
            <a:r>
              <a:rPr lang="de-DE" dirty="0" err="1">
                <a:solidFill>
                  <a:schemeClr val="accent6"/>
                </a:solidFill>
              </a:rPr>
              <a:t>test</a:t>
            </a:r>
            <a:r>
              <a:rPr lang="de-DE" dirty="0">
                <a:solidFill>
                  <a:schemeClr val="accent6"/>
                </a:solidFill>
              </a:rPr>
              <a:t> </a:t>
            </a:r>
            <a:r>
              <a:rPr lang="de-DE" dirty="0" err="1">
                <a:solidFill>
                  <a:schemeClr val="accent6"/>
                </a:solidFill>
              </a:rPr>
              <a:t>suite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e hohe Code Coverage ist kein Garant dafür, dass alle Fälle </a:t>
            </a:r>
            <a:r>
              <a:rPr lang="de-DE" dirty="0" err="1"/>
              <a:t>abgetest</a:t>
            </a:r>
            <a:r>
              <a:rPr lang="de-DE" dirty="0"/>
              <a:t> worden sind.</a:t>
            </a:r>
          </a:p>
          <a:p>
            <a:pPr lvl="0"/>
            <a:r>
              <a:rPr lang="de-DE" dirty="0"/>
              <a:t>Fachliche Tests inkl. menschlicher Überprüfung sind unabdingbar </a:t>
            </a:r>
            <a:r>
              <a:rPr lang="de-DE" dirty="0">
                <a:sym typeface="Wingdings" panose="05000000000000000000" pitchFamily="2" charset="2"/>
              </a:rPr>
              <a:t> Mit </a:t>
            </a:r>
            <a:r>
              <a:rPr lang="de-DE" b="1" dirty="0" err="1">
                <a:solidFill>
                  <a:schemeClr val="accent6"/>
                </a:solidFill>
                <a:sym typeface="Wingdings" panose="05000000000000000000" pitchFamily="2" charset="2"/>
              </a:rPr>
              <a:t>Specification</a:t>
            </a:r>
            <a:r>
              <a:rPr lang="de-DE" b="1" dirty="0">
                <a:solidFill>
                  <a:schemeClr val="accent6"/>
                </a:solidFill>
                <a:sym typeface="Wingdings" panose="05000000000000000000" pitchFamily="2" charset="2"/>
              </a:rPr>
              <a:t> </a:t>
            </a:r>
            <a:r>
              <a:rPr lang="de-DE" b="1" dirty="0" err="1">
                <a:solidFill>
                  <a:schemeClr val="accent6"/>
                </a:solidFill>
                <a:sym typeface="Wingdings" panose="05000000000000000000" pitchFamily="2" charset="2"/>
              </a:rPr>
              <a:t>by</a:t>
            </a:r>
            <a:r>
              <a:rPr lang="de-DE" b="1" dirty="0">
                <a:solidFill>
                  <a:schemeClr val="accent6"/>
                </a:solidFill>
                <a:sym typeface="Wingdings" panose="05000000000000000000" pitchFamily="2" charset="2"/>
              </a:rPr>
              <a:t> </a:t>
            </a:r>
            <a:r>
              <a:rPr lang="de-DE" b="1" dirty="0" err="1">
                <a:solidFill>
                  <a:schemeClr val="accent6"/>
                </a:solidFill>
                <a:sym typeface="Wingdings" panose="05000000000000000000" pitchFamily="2" charset="2"/>
              </a:rPr>
              <a:t>Example</a:t>
            </a:r>
            <a:r>
              <a:rPr lang="de-DE" b="1" dirty="0">
                <a:solidFill>
                  <a:schemeClr val="accent6"/>
                </a:solidFill>
                <a:sym typeface="Wingdings" panose="05000000000000000000" pitchFamily="2" charset="2"/>
              </a:rPr>
              <a:t> </a:t>
            </a:r>
            <a:r>
              <a:rPr lang="de-DE" dirty="0">
                <a:sym typeface="Wingdings" panose="05000000000000000000" pitchFamily="2" charset="2"/>
              </a:rPr>
              <a:t>können menschliche Experten effektiv in die Entwicklung und Überprüfung eingebunden werden.</a:t>
            </a:r>
            <a:endParaRPr lang="de-DE" dirty="0"/>
          </a:p>
          <a:p>
            <a:pPr lvl="0"/>
            <a:r>
              <a:rPr lang="de-DE" dirty="0"/>
              <a:t>Ein </a:t>
            </a:r>
            <a:r>
              <a:rPr lang="de-DE" b="1" dirty="0" err="1">
                <a:solidFill>
                  <a:schemeClr val="accent6"/>
                </a:solidFill>
              </a:rPr>
              <a:t>mutation</a:t>
            </a:r>
            <a:r>
              <a:rPr lang="de-DE" b="1" dirty="0">
                <a:solidFill>
                  <a:schemeClr val="accent6"/>
                </a:solidFill>
              </a:rPr>
              <a:t> </a:t>
            </a:r>
            <a:r>
              <a:rPr lang="de-DE" b="1" dirty="0" err="1">
                <a:solidFill>
                  <a:schemeClr val="accent6"/>
                </a:solidFill>
              </a:rPr>
              <a:t>testing</a:t>
            </a:r>
            <a:r>
              <a:rPr lang="de-DE" b="1" dirty="0">
                <a:solidFill>
                  <a:schemeClr val="accent6"/>
                </a:solidFill>
              </a:rPr>
              <a:t> </a:t>
            </a:r>
            <a:r>
              <a:rPr lang="de-DE" dirty="0"/>
              <a:t>Tool modifiziert den zu testenden Code und prüft, ob diese Modifikation (=Mutant) durch die Tests entdeckt worden sind. Falls nicht, überlebt der Mutant und wird gemeldet.</a:t>
            </a:r>
          </a:p>
          <a:p>
            <a:pPr lvl="0"/>
            <a:r>
              <a:rPr lang="de-DE" dirty="0"/>
              <a:t>Mit </a:t>
            </a:r>
            <a:r>
              <a:rPr lang="de-DE" dirty="0" err="1"/>
              <a:t>mutation</a:t>
            </a:r>
            <a:r>
              <a:rPr lang="de-DE" dirty="0"/>
              <a:t> </a:t>
            </a:r>
            <a:r>
              <a:rPr lang="de-DE" dirty="0" err="1"/>
              <a:t>testing</a:t>
            </a:r>
            <a:r>
              <a:rPr lang="de-DE" dirty="0"/>
              <a:t> wird der Effektivität der Unittests überprüft.</a:t>
            </a:r>
          </a:p>
          <a:p>
            <a:pPr lvl="0"/>
            <a:r>
              <a:rPr lang="de-DE" dirty="0"/>
              <a:t>Wird üblicherweise bei </a:t>
            </a:r>
            <a:r>
              <a:rPr lang="de-DE" b="1" dirty="0">
                <a:solidFill>
                  <a:schemeClr val="accent6"/>
                </a:solidFill>
              </a:rPr>
              <a:t>sicherheitskritischen </a:t>
            </a:r>
            <a:r>
              <a:rPr lang="de-DE" b="1" dirty="0" err="1">
                <a:solidFill>
                  <a:schemeClr val="accent6"/>
                </a:solidFill>
              </a:rPr>
              <a:t>new</a:t>
            </a:r>
            <a:r>
              <a:rPr lang="de-DE" b="1" dirty="0">
                <a:solidFill>
                  <a:schemeClr val="accent6"/>
                </a:solidFill>
              </a:rPr>
              <a:t> code </a:t>
            </a:r>
            <a:r>
              <a:rPr lang="de-DE" dirty="0"/>
              <a:t>angewandt, weniger bei </a:t>
            </a:r>
            <a:r>
              <a:rPr lang="de-DE" dirty="0" err="1"/>
              <a:t>legacy</a:t>
            </a:r>
            <a:r>
              <a:rPr lang="de-DE" dirty="0"/>
              <a:t> code.</a:t>
            </a:r>
          </a:p>
        </p:txBody>
      </p:sp>
    </p:spTree>
    <p:extLst>
      <p:ext uri="{BB962C8B-B14F-4D97-AF65-F5344CB8AC3E}">
        <p14:creationId xmlns:p14="http://schemas.microsoft.com/office/powerpoint/2010/main" val="344938627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utation </a:t>
            </a:r>
            <a:r>
              <a:rPr lang="de-DE" dirty="0" err="1"/>
              <a:t>testing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buil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pitest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pitest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-mave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1.6.7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ie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y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org.pitest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group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  &lt;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pitest-junit5-plugi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 err="1">
                <a:solidFill>
                  <a:srgbClr val="3F7F7F"/>
                </a:solidFill>
                <a:latin typeface="Consolas" panose="020B0609020204030204" pitchFamily="49" charset="0"/>
              </a:rPr>
              <a:t>artifactI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  &lt;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0.14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versio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y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dependencie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  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plugins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lt;/</a:t>
            </a:r>
            <a:r>
              <a:rPr lang="en-US" sz="1200" dirty="0">
                <a:solidFill>
                  <a:srgbClr val="3F7F7F"/>
                </a:solidFill>
                <a:latin typeface="Consolas" panose="020B0609020204030204" pitchFamily="49" charset="0"/>
              </a:rPr>
              <a:t>build</a:t>
            </a:r>
            <a:r>
              <a:rPr lang="en-US" sz="1200" dirty="0">
                <a:solidFill>
                  <a:srgbClr val="008080"/>
                </a:solidFill>
                <a:latin typeface="Consolas" panose="020B0609020204030204" pitchFamily="49" charset="0"/>
              </a:rPr>
              <a:t>&gt;</a:t>
            </a:r>
          </a:p>
          <a:p>
            <a:pPr algn="l"/>
            <a:endParaRPr lang="en-US" sz="1200" b="1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mvn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 clean 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test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 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org.pitest:pitest-maven:mutationCoverage</a:t>
            </a:r>
            <a:endParaRPr lang="de-DE" kern="0" dirty="0">
              <a:solidFill>
                <a:schemeClr val="tx1"/>
              </a:solidFill>
              <a:latin typeface="Consolas" panose="020B0609020204030204" pitchFamily="49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>
                <a:sym typeface="Wingdings" panose="05000000000000000000" pitchFamily="2" charset="2"/>
              </a:rPr>
              <a:t>Ergebnisse in 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target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\</a:t>
            </a:r>
            <a:r>
              <a:rPr lang="de-DE" kern="0" dirty="0" err="1">
                <a:solidFill>
                  <a:schemeClr val="tx1"/>
                </a:solidFill>
                <a:latin typeface="Consolas" panose="020B0609020204030204" pitchFamily="49" charset="0"/>
              </a:rPr>
              <a:t>pit</a:t>
            </a:r>
            <a:r>
              <a:rPr lang="de-DE" kern="0" dirty="0">
                <a:solidFill>
                  <a:schemeClr val="tx1"/>
                </a:solidFill>
                <a:latin typeface="Consolas" panose="020B0609020204030204" pitchFamily="49" charset="0"/>
              </a:rPr>
              <a:t>-repo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/>
              <a:t>Implementiere Tests, welche alle Mutanten entdecken</a:t>
            </a:r>
          </a:p>
        </p:txBody>
      </p:sp>
    </p:spTree>
    <p:extLst>
      <p:ext uri="{BB962C8B-B14F-4D97-AF65-F5344CB8AC3E}">
        <p14:creationId xmlns:p14="http://schemas.microsoft.com/office/powerpoint/2010/main" val="320041348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B435463-7AA7-41E3-9CA5-94F57730C8F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23963"/>
            <a:ext cx="12193588" cy="5634037"/>
          </a:xfrm>
          <a:solidFill>
            <a:schemeClr val="accent2">
              <a:alpha val="32000"/>
            </a:schemeClr>
          </a:solidFill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3539430"/>
          </a:xfrm>
        </p:spPr>
        <p:txBody>
          <a:bodyPr/>
          <a:lstStyle/>
          <a:p>
            <a:pPr lvl="0"/>
            <a:r>
              <a:rPr lang="de-DE" sz="11500" dirty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es Zusamm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C319DEC-7124-4DBA-94B9-B397948BC8E4}"/>
              </a:ext>
            </a:extLst>
          </p:cNvPr>
          <p:cNvSpPr txBox="1"/>
          <p:nvPr/>
        </p:nvSpPr>
        <p:spPr>
          <a:xfrm>
            <a:off x="9429606" y="6574139"/>
            <a:ext cx="27639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Photo by </a:t>
            </a:r>
            <a:r>
              <a:rPr lang="en-US" sz="8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vier </a:t>
            </a:r>
            <a:r>
              <a:rPr lang="en-US" sz="800" dirty="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legue</a:t>
            </a:r>
            <a:r>
              <a:rPr lang="en-US" sz="8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Barros</a:t>
            </a:r>
            <a:r>
              <a:rPr lang="en-US" sz="800" dirty="0">
                <a:solidFill>
                  <a:schemeClr val="bg1"/>
                </a:solidFill>
              </a:rPr>
              <a:t> on </a:t>
            </a:r>
            <a:r>
              <a:rPr lang="en-US" sz="800" dirty="0" err="1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r>
              <a:rPr lang="en-US" sz="8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287702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err="1"/>
              <a:t>Gilded</a:t>
            </a:r>
            <a:r>
              <a:rPr lang="de-DE" dirty="0"/>
              <a:t> Ros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BuildSeamsInto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  <a:p>
            <a:pPr algn="l"/>
            <a:r>
              <a:rPr lang="en-US" sz="10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private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) </a:t>
            </a:r>
            <a:r>
              <a:rPr lang="en-US" sz="10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0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IOException</a:t>
            </a:r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000" b="1" dirty="0">
                <a:solidFill>
                  <a:srgbClr val="000000"/>
                </a:solidFill>
                <a:latin typeface="Consolas" panose="020B0609020204030204" pitchFamily="49" charset="0"/>
              </a:rPr>
              <a:t>…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108DC56-3949-4A7A-8EE7-483E4CD22F89}"/>
              </a:ext>
            </a:extLst>
          </p:cNvPr>
          <p:cNvSpPr txBox="1">
            <a:spLocks/>
          </p:cNvSpPr>
          <p:nvPr/>
        </p:nvSpPr>
        <p:spPr>
          <a:xfrm>
            <a:off x="6723121" y="2876355"/>
            <a:ext cx="5149056" cy="3095625"/>
          </a:xfrm>
          <a:prstGeom prst="rect">
            <a:avLst/>
          </a:prstGeom>
          <a:noFill/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kern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3859353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CD36E-B94E-4C4C-A5D2-38088A0DA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8CD36E-B94E-4C4C-A5D2-38088A0DA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777B834-B199-45AA-8FDB-978415497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AFC42D-FC8C-4652-B9E7-39B0DC2253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D4443B3-F49D-4FC5-B4F8-73367DB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2555309"/>
            <a:ext cx="9988117" cy="1354217"/>
          </a:xfrm>
        </p:spPr>
        <p:txBody>
          <a:bodyPr/>
          <a:lstStyle/>
          <a:p>
            <a:pPr lvl="0"/>
            <a:r>
              <a:rPr lang="de-DE" sz="8800" dirty="0" err="1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nkanstösse</a:t>
            </a:r>
            <a:endParaRPr lang="de-DE" sz="88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5551983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E2DBED-0A90-42A7-86CD-859F8B73A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IT: merge, rebase und squash commi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11470D-A24F-445B-BC17-DC540D6CC0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75CB6D-78F4-4776-8CA2-A661DFA3A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137B8EA-BC2F-48F8-91A1-80EF9E47F8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362" y="2415379"/>
            <a:ext cx="8982183" cy="3612224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DEF0005-9CD8-4446-B6B2-938B80AACC27}"/>
              </a:ext>
            </a:extLst>
          </p:cNvPr>
          <p:cNvSpPr txBox="1">
            <a:spLocks/>
          </p:cNvSpPr>
          <p:nvPr/>
        </p:nvSpPr>
        <p:spPr>
          <a:xfrm>
            <a:off x="9402617" y="2139094"/>
            <a:ext cx="2669325" cy="3888509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0" tIns="25560" rIns="0" bIns="0" numCol="1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sz="1400" b="1" kern="0" dirty="0" err="1"/>
              <a:t>Rebase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 err="1"/>
              <a:t>Rebase</a:t>
            </a:r>
            <a:r>
              <a:rPr lang="de-DE" sz="1400" kern="0" dirty="0"/>
              <a:t> erzeugt eine einfach (linear) lesbare Projekt/</a:t>
            </a:r>
            <a:r>
              <a:rPr lang="de-DE" sz="1400" kern="0" dirty="0" err="1"/>
              <a:t>git</a:t>
            </a:r>
            <a:r>
              <a:rPr lang="de-DE" sz="1400" kern="0" dirty="0"/>
              <a:t> </a:t>
            </a:r>
            <a:r>
              <a:rPr lang="de-DE" sz="1400" kern="0" dirty="0" err="1"/>
              <a:t>history</a:t>
            </a:r>
            <a:endParaRPr lang="de-DE" sz="1400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endParaRPr lang="de-DE" sz="1400" kern="0" dirty="0"/>
          </a:p>
          <a:p>
            <a:pPr marL="92075"/>
            <a:r>
              <a:rPr lang="de-DE" sz="1400" b="1" kern="0" dirty="0" err="1"/>
              <a:t>Merge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 err="1"/>
              <a:t>Merge</a:t>
            </a:r>
            <a:r>
              <a:rPr lang="de-DE" sz="1400" kern="0" dirty="0"/>
              <a:t> erhält </a:t>
            </a:r>
            <a:r>
              <a:rPr lang="de-DE" sz="1400" kern="0" dirty="0" err="1"/>
              <a:t>branches</a:t>
            </a:r>
            <a:r>
              <a:rPr lang="de-DE" sz="1400" kern="0" dirty="0"/>
              <a:t> und deren Historie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/>
              <a:t>Die Projekt/</a:t>
            </a:r>
            <a:r>
              <a:rPr lang="de-DE" sz="1400" kern="0" dirty="0" err="1"/>
              <a:t>git</a:t>
            </a:r>
            <a:r>
              <a:rPr lang="de-DE" sz="1400" kern="0" dirty="0"/>
              <a:t> </a:t>
            </a:r>
            <a:r>
              <a:rPr lang="de-DE" sz="1400" kern="0" dirty="0" err="1"/>
              <a:t>history</a:t>
            </a:r>
            <a:r>
              <a:rPr lang="de-DE" sz="1400" kern="0" dirty="0"/>
              <a:t> wird damit nicht-linear und komplexer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endParaRPr lang="de-DE" sz="1400" kern="0" dirty="0"/>
          </a:p>
          <a:p>
            <a:pPr marL="92075"/>
            <a:r>
              <a:rPr lang="de-DE" sz="1400" b="1" kern="0" dirty="0"/>
              <a:t>Squash </a:t>
            </a:r>
            <a:r>
              <a:rPr lang="de-DE" sz="1400" b="1" kern="0" dirty="0" err="1"/>
              <a:t>commit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/>
              <a:t>Mit </a:t>
            </a:r>
            <a:r>
              <a:rPr lang="de-DE" sz="1400" kern="0" dirty="0" err="1"/>
              <a:t>squash</a:t>
            </a:r>
            <a:r>
              <a:rPr lang="de-DE" sz="1400" kern="0" dirty="0"/>
              <a:t> </a:t>
            </a:r>
            <a:r>
              <a:rPr lang="de-DE" sz="1400" kern="0" dirty="0" err="1"/>
              <a:t>commit</a:t>
            </a:r>
            <a:r>
              <a:rPr lang="de-DE" sz="1400" kern="0" dirty="0"/>
              <a:t> können nicht relevante Zwischen-schritte zusammen gezogen werden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val="223420539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E2DBED-0A90-42A7-86CD-859F8B73A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355609"/>
            <a:ext cx="7546079" cy="769441"/>
          </a:xfrm>
        </p:spPr>
        <p:txBody>
          <a:bodyPr/>
          <a:lstStyle/>
          <a:p>
            <a:r>
              <a:rPr lang="de-DE" dirty="0"/>
              <a:t>Sicherheitsnetz mit einer Fassade</a:t>
            </a:r>
            <a:br>
              <a:rPr lang="de-DE" dirty="0"/>
            </a:br>
            <a:r>
              <a:rPr lang="de-DE" dirty="0"/>
              <a:t>(Ziel: </a:t>
            </a:r>
            <a:r>
              <a:rPr lang="de-DE" dirty="0" err="1"/>
              <a:t>refactoring</a:t>
            </a:r>
            <a:r>
              <a:rPr lang="de-DE" dirty="0"/>
              <a:t>/</a:t>
            </a:r>
            <a:r>
              <a:rPr lang="de-DE" dirty="0" err="1"/>
              <a:t>redesign</a:t>
            </a:r>
            <a:r>
              <a:rPr lang="de-DE" dirty="0"/>
              <a:t>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11470D-A24F-445B-BC17-DC540D6CC0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75CB6D-78F4-4776-8CA2-A661DFA3A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FE35AE10-B4AC-4EE8-B630-6FBADC9BF244}"/>
              </a:ext>
            </a:extLst>
          </p:cNvPr>
          <p:cNvSpPr txBox="1">
            <a:spLocks/>
          </p:cNvSpPr>
          <p:nvPr/>
        </p:nvSpPr>
        <p:spPr>
          <a:xfrm>
            <a:off x="8493817" y="1274618"/>
            <a:ext cx="3597909" cy="52422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25560" rIns="0" bIns="0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sz="1600" b="1" kern="0" dirty="0"/>
              <a:t>Sicherheitsnetz aufbauen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Erstelle Arbeitshypothese: Ich will einen Test, der einen bestimmten Pfad in Komponente A berührt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Erstelle einen </a:t>
            </a:r>
            <a:r>
              <a:rPr lang="de-DE" sz="1600" kern="0" dirty="0" err="1"/>
              <a:t>integrated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r>
              <a:rPr lang="de-DE" sz="1600" kern="0" dirty="0"/>
              <a:t>, welche diesen Pfad berührt und bestätige dies durch </a:t>
            </a:r>
            <a:r>
              <a:rPr lang="de-DE" sz="1600" kern="0" dirty="0" err="1"/>
              <a:t>CodeCoverage</a:t>
            </a:r>
            <a:r>
              <a:rPr lang="de-DE" sz="1600" kern="0" dirty="0"/>
              <a:t>, Logs oder ähnliches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Reichere den </a:t>
            </a:r>
            <a:r>
              <a:rPr lang="de-DE" sz="1600" kern="0" dirty="0" err="1"/>
              <a:t>integrated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r>
              <a:rPr lang="de-DE" sz="1600" kern="0" dirty="0"/>
              <a:t> hinreichend an (ggf. mit </a:t>
            </a:r>
            <a:r>
              <a:rPr lang="de-DE" sz="1600" kern="0" dirty="0" err="1"/>
              <a:t>mutation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r>
              <a:rPr lang="de-DE" sz="1600" kern="0" dirty="0"/>
              <a:t> prüfen)</a:t>
            </a:r>
          </a:p>
          <a:p>
            <a:pPr marL="92075"/>
            <a:endParaRPr lang="de-DE" sz="1600" b="1" kern="0" dirty="0"/>
          </a:p>
          <a:p>
            <a:pPr marL="92075"/>
            <a:r>
              <a:rPr lang="de-DE" sz="1600" b="1" kern="0" dirty="0" err="1"/>
              <a:t>Refactoring</a:t>
            </a:r>
            <a:r>
              <a:rPr lang="de-DE" sz="1600" b="1" kern="0" dirty="0"/>
              <a:t> und </a:t>
            </a:r>
            <a:r>
              <a:rPr lang="de-DE" sz="1600" b="1" kern="0" dirty="0" err="1"/>
              <a:t>Redesign</a:t>
            </a:r>
            <a:endParaRPr lang="de-DE" sz="1600" b="1" kern="0" dirty="0"/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… bei ständigem grün des </a:t>
            </a:r>
            <a:r>
              <a:rPr lang="de-DE" sz="1600" kern="0" dirty="0" err="1"/>
              <a:t>integrated</a:t>
            </a:r>
            <a:r>
              <a:rPr lang="de-DE" sz="1600" kern="0" dirty="0"/>
              <a:t> </a:t>
            </a:r>
            <a:r>
              <a:rPr lang="de-DE" sz="1600" kern="0" dirty="0" err="1"/>
              <a:t>test</a:t>
            </a:r>
            <a:endParaRPr lang="de-DE" sz="1600" kern="0" dirty="0"/>
          </a:p>
          <a:p>
            <a:pPr marL="92075"/>
            <a:endParaRPr lang="de-DE" sz="1600" kern="0" dirty="0"/>
          </a:p>
          <a:p>
            <a:pPr marL="92075"/>
            <a:r>
              <a:rPr lang="de-DE" sz="1600" b="1" kern="0" dirty="0"/>
              <a:t>Annahme</a:t>
            </a:r>
          </a:p>
          <a:p>
            <a:pPr marL="342900" indent="-250825">
              <a:buFont typeface="Arial" panose="020B0604020202020204" pitchFamily="34" charset="0"/>
              <a:buChar char="•"/>
            </a:pPr>
            <a:r>
              <a:rPr lang="de-DE" sz="1600" kern="0" dirty="0"/>
              <a:t>Fassade ist ein </a:t>
            </a:r>
            <a:r>
              <a:rPr lang="de-DE" sz="1600" kern="0" dirty="0" err="1">
                <a:hlinkClick r:id="rId2"/>
              </a:rPr>
              <a:t>HumbleObject</a:t>
            </a:r>
            <a:r>
              <a:rPr lang="de-DE" sz="1600" kern="0" dirty="0"/>
              <a:t> und muss als solches nicht besonderes beachtet werd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4DB2578-678A-4F2D-982C-AFF0B3E221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453" y="2301429"/>
            <a:ext cx="8097290" cy="3012945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380DFAA-408E-4C7B-8B5E-586A1513DF55}"/>
              </a:ext>
            </a:extLst>
          </p:cNvPr>
          <p:cNvSpPr txBox="1">
            <a:spLocks/>
          </p:cNvSpPr>
          <p:nvPr/>
        </p:nvSpPr>
        <p:spPr>
          <a:xfrm>
            <a:off x="215453" y="5490754"/>
            <a:ext cx="8097290" cy="1242556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0" tIns="25560" rIns="0" bIns="0" numCol="1" anchor="t" anchorCtr="0" compatLnSpc="1"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85850C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01018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1D8748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800" b="1" kern="1200">
                <a:solidFill>
                  <a:srgbClr val="660E7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/>
            <a:r>
              <a:rPr lang="de-DE" sz="1400" b="1" kern="0" dirty="0"/>
              <a:t>Ideen für </a:t>
            </a:r>
            <a:r>
              <a:rPr lang="de-DE" sz="1400" b="1" kern="0" dirty="0" err="1"/>
              <a:t>Refactoring</a:t>
            </a:r>
            <a:r>
              <a:rPr lang="de-DE" sz="1400" b="1" kern="0" dirty="0"/>
              <a:t> und </a:t>
            </a:r>
            <a:r>
              <a:rPr lang="de-DE" sz="1400" b="1" kern="0" dirty="0" err="1"/>
              <a:t>Redesign</a:t>
            </a:r>
            <a:endParaRPr lang="de-DE" sz="1400" b="1" kern="0" dirty="0"/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/>
              <a:t>„Extract Class“ </a:t>
            </a:r>
            <a:r>
              <a:rPr lang="de-DE" sz="1400" kern="0" dirty="0">
                <a:sym typeface="Wingdings" panose="05000000000000000000" pitchFamily="2" charset="2"/>
              </a:rPr>
              <a:t> Zuviel Funktionalität aus der Fassade entfernen und in eine eigene Klasse extrahieren. Diese Detail-Klasse kann gezielt und qualitätsgesichert getestet werden.</a:t>
            </a:r>
          </a:p>
          <a:p>
            <a:pPr marL="377825" indent="-285750">
              <a:buFont typeface="Arial" panose="020B0604020202020204" pitchFamily="34" charset="0"/>
              <a:buChar char="•"/>
            </a:pPr>
            <a:r>
              <a:rPr lang="de-DE" sz="1400" kern="0" dirty="0">
                <a:sym typeface="Wingdings" panose="05000000000000000000" pitchFamily="2" charset="2"/>
              </a:rPr>
              <a:t>Sobald die Fassade keine spezifische Funktionalität mehr enthält, durch eine „dumme“ Bibliothek ersetzten. Diese soll eine einfache Transformation von links nach rechts durchführen.</a:t>
            </a: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val="3819196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825D82-CE76-4F3D-A581-11EEFA87C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825D82-CE76-4F3D-A581-11EEFA87C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84260EA-D31A-4CDE-A7A3-D93944C99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07E4A14-9F1B-4BFC-BA89-31339BC5E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Golden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0D9AE8-E371-4396-83A1-C5BA5A617C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42AFFD-6546-4918-9D51-091BC71B5C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de-DE" dirty="0"/>
              <a:t>Jede Interaktion mit externen System wird sehr detailliert protokollier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Gegen dieses Protokoll (=Golden Master) wird kontinuierlich getestet.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dirty="0"/>
              <a:t>Falls der Test okay ist, ist man sicher, dass die Applikation immer noch korrekt ist. </a:t>
            </a:r>
            <a:br>
              <a:rPr lang="de-DE" dirty="0"/>
            </a:br>
            <a:r>
              <a:rPr lang="de-DE" dirty="0"/>
              <a:t>Relativ zu vor den Änderungen</a:t>
            </a:r>
          </a:p>
          <a:p>
            <a:pPr lvl="0"/>
            <a:r>
              <a:rPr lang="de-DE" dirty="0">
                <a:sym typeface="Wingdings" panose="05000000000000000000" pitchFamily="2" charset="2"/>
              </a:rPr>
              <a:t> = Sicherheitsnetz</a:t>
            </a:r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6FC611-F4BA-4C7B-9D1A-E929BF5099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59640" y="3033713"/>
            <a:ext cx="3779640" cy="3136069"/>
          </a:xfrm>
        </p:spPr>
        <p:txBody>
          <a:bodyPr/>
          <a:lstStyle/>
          <a:p>
            <a:pPr lvl="0"/>
            <a:r>
              <a:rPr lang="de-DE" dirty="0"/>
              <a:t>Konsolenausgabe</a:t>
            </a:r>
          </a:p>
          <a:p>
            <a:pPr lvl="0"/>
            <a:r>
              <a:rPr lang="de-DE" dirty="0"/>
              <a:t>Aufrufe über das Netzwerk</a:t>
            </a:r>
          </a:p>
          <a:p>
            <a:pPr lvl="0"/>
            <a:r>
              <a:rPr lang="de-DE" dirty="0"/>
              <a:t>Aufrufe (und Änderungen) auf der Datenbank</a:t>
            </a:r>
          </a:p>
          <a:p>
            <a:pPr lvl="0"/>
            <a:r>
              <a:rPr lang="de-DE" dirty="0"/>
              <a:t>Systemprotokolldateien</a:t>
            </a:r>
          </a:p>
          <a:p>
            <a:pPr lvl="0"/>
            <a:r>
              <a:rPr lang="de-DE" dirty="0"/>
              <a:t>Geldtransferanweisungen</a:t>
            </a:r>
          </a:p>
          <a:p>
            <a:pPr lvl="0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924160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B2715C-9E55-432B-AF90-F40C2FEA9A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92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5" progId="TCLayout.ActiveDocument.1">
                  <p:embed/>
                </p:oleObj>
              </mc:Choice>
              <mc:Fallback>
                <p:oleObj name="think-cell Folie" r:id="rId3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500B485-D55C-4927-B473-E59B53408D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181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facher Golden </a:t>
            </a:r>
            <a:r>
              <a:rPr lang="de-DE" dirty="0" err="1"/>
              <a:t>master</a:t>
            </a:r>
            <a:r>
              <a:rPr lang="de-DE" dirty="0"/>
              <a:t> – Fizz Buzz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clas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FizzBuzz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nn-NO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nn-NO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nn-NO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nn-NO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System.</a:t>
            </a:r>
            <a:r>
              <a:rPr lang="nn-NO" sz="1200" b="1" i="1" dirty="0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nn-NO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.println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}</a:t>
            </a: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endParaRPr lang="en-US" sz="1200" dirty="0">
              <a:solidFill>
                <a:srgbClr val="000000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dirty="0">
                <a:solidFill>
                  <a:srgbClr val="646464"/>
                </a:solidFill>
                <a:latin typeface="Consolas" panose="020B0609020204030204" pitchFamily="49" charset="0"/>
              </a:rPr>
              <a:t>@Test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goldenMasterTes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)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throw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Exception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>
                <a:solidFill>
                  <a:srgbClr val="3F7F5F"/>
                </a:solidFill>
                <a:latin typeface="Consolas" panose="020B0609020204030204" pitchFamily="49" charset="0"/>
              </a:rPr>
              <a:t>// </a:t>
            </a:r>
            <a:r>
              <a:rPr lang="en-US" sz="1200" b="1" dirty="0">
                <a:solidFill>
                  <a:srgbClr val="7F9FBF"/>
                </a:solidFill>
                <a:latin typeface="Consolas" panose="020B0609020204030204" pitchFamily="49" charset="0"/>
              </a:rPr>
              <a:t>TODO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create a golden master from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FizzBuzz's</a:t>
            </a:r>
            <a:r>
              <a:rPr lang="en-US" sz="1200" b="1" dirty="0">
                <a:solidFill>
                  <a:srgbClr val="3F7F5F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3F7F5F"/>
                </a:solidFill>
                <a:latin typeface="Consolas" panose="020B0609020204030204" pitchFamily="49" charset="0"/>
              </a:rPr>
              <a:t>System.out.println</a:t>
            </a:r>
            <a:endParaRPr lang="en-US" sz="1200" b="1" dirty="0">
              <a:solidFill>
                <a:srgbClr val="3F7F5F"/>
              </a:solidFill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4E59DBC7-CF9D-4F1E-BCB4-A9969D616245}"/>
              </a:ext>
            </a:extLst>
          </p:cNvPr>
          <p:cNvSpPr/>
          <p:nvPr/>
        </p:nvSpPr>
        <p:spPr>
          <a:xfrm>
            <a:off x="8644254" y="1823455"/>
            <a:ext cx="3447474" cy="50800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\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xcercise</a:t>
            </a:r>
            <a:r>
              <a:rPr lang="en-US" sz="1050" dirty="0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golden-master-</a:t>
            </a:r>
            <a:r>
              <a:rPr lang="en-US" sz="1050" dirty="0" err="1">
                <a:solidFill>
                  <a:schemeClr val="tx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zzbuzz</a:t>
            </a:r>
            <a:endParaRPr lang="en-US" sz="1050" dirty="0">
              <a:solidFill>
                <a:schemeClr val="tx1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826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570045-A0B3-4B9C-8D19-43B477531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570045-A0B3-4B9C-8D19-43B477531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C08EEC-5A7C-4756-9795-B8558E5E6C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0511200-ED93-4467-8382-097BC912802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7738" y="1946734"/>
            <a:ext cx="10261600" cy="384721"/>
          </a:xfrm>
        </p:spPr>
        <p:txBody>
          <a:bodyPr/>
          <a:lstStyle/>
          <a:p>
            <a:r>
              <a:rPr lang="de-DE" dirty="0">
                <a:solidFill>
                  <a:schemeClr val="accent6"/>
                </a:solidFill>
              </a:rPr>
              <a:t>Was sind </a:t>
            </a:r>
            <a:r>
              <a:rPr lang="de-DE" dirty="0" err="1">
                <a:solidFill>
                  <a:schemeClr val="accent6"/>
                </a:solidFill>
              </a:rPr>
              <a:t>seams</a:t>
            </a:r>
            <a:r>
              <a:rPr lang="de-DE" dirty="0">
                <a:solidFill>
                  <a:schemeClr val="accent6"/>
                </a:solidFill>
              </a:rPr>
              <a:t>?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A80B8F0-9D58-40ED-9AD4-12D2371179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9146588-1CDC-452E-AE71-D5F8138A64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Ein „</a:t>
            </a:r>
            <a:r>
              <a:rPr lang="de-DE" b="1" dirty="0" err="1">
                <a:solidFill>
                  <a:schemeClr val="accent6"/>
                </a:solidFill>
              </a:rPr>
              <a:t>seam</a:t>
            </a:r>
            <a:r>
              <a:rPr lang="de-DE" dirty="0"/>
              <a:t>“ ist eine Nahtstelle, die aufgetrennt werden kann.</a:t>
            </a:r>
          </a:p>
          <a:p>
            <a:pPr lvl="0"/>
            <a:r>
              <a:rPr lang="de-DE" dirty="0"/>
              <a:t>Im Code ist sind es Stellen, um z.B. Informationen abzugreifen oder ein besonderes Verhalten einzuführen.</a:t>
            </a:r>
          </a:p>
          <a:p>
            <a:pPr lvl="0"/>
            <a:r>
              <a:rPr lang="de-DE" dirty="0"/>
              <a:t>Häufig bei Golden Master müssen wir non-invasive Codeänderungen einführen, damit wir an interessante Informationen kommen.</a:t>
            </a:r>
          </a:p>
          <a:p>
            <a:pPr lvl="0"/>
            <a:r>
              <a:rPr lang="de-DE" dirty="0"/>
              <a:t>Speziell in komplexen Fällen führen wir </a:t>
            </a:r>
            <a:r>
              <a:rPr lang="de-DE" dirty="0" err="1"/>
              <a:t>seams</a:t>
            </a:r>
            <a:r>
              <a:rPr lang="de-DE" dirty="0"/>
              <a:t> ein, damit wir einen besseren Golden Master erstellen können. </a:t>
            </a:r>
            <a:r>
              <a:rPr lang="de-DE" b="1" dirty="0">
                <a:solidFill>
                  <a:schemeClr val="accent6"/>
                </a:solidFill>
              </a:rPr>
              <a:t>Später dienen diese </a:t>
            </a:r>
            <a:r>
              <a:rPr lang="de-DE" b="1" dirty="0" err="1">
                <a:solidFill>
                  <a:schemeClr val="accent6"/>
                </a:solidFill>
              </a:rPr>
              <a:t>seams</a:t>
            </a:r>
            <a:r>
              <a:rPr lang="de-DE" b="1" dirty="0">
                <a:solidFill>
                  <a:schemeClr val="accent6"/>
                </a:solidFill>
              </a:rPr>
              <a:t> als Ausgangspunkt um das Software Design zu verbessern</a:t>
            </a:r>
            <a:r>
              <a:rPr lang="de-DE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69467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2288FD-DAE7-40A4-ABE3-9986522F6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2288FD-DAE7-40A4-ABE3-9986522F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9B0C756-43BC-4809-B4D5-F6AF0718829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C2A4547-EAF9-4102-A414-B2B6EBFD7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in Einfacher </a:t>
            </a:r>
            <a:r>
              <a:rPr lang="de-DE" dirty="0" err="1"/>
              <a:t>Seam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D5A59F-52B3-4CB0-AD5A-BABC7D1A0A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Coding Akademie München GmbH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04F5AA-F47B-4768-9C65-B6E54D1C17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7738" y="2558473"/>
            <a:ext cx="10261600" cy="3570865"/>
          </a:xfrm>
        </p:spPr>
        <p:txBody>
          <a:bodyPr/>
          <a:lstStyle/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main(String[]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args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for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(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int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= 0;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&lt; 100; </a:t>
            </a:r>
            <a:r>
              <a:rPr lang="en-US" sz="1200" b="1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++, 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println_seam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   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 == 0 ||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 == 0 ?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3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fi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+ ((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% 5) == 0 ?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buzz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: </a:t>
            </a:r>
            <a:r>
              <a:rPr lang="en-US" sz="1200" dirty="0">
                <a:solidFill>
                  <a:srgbClr val="2A00FF"/>
                </a:solidFill>
                <a:latin typeface="Consolas" panose="020B0609020204030204" pitchFamily="49" charset="0"/>
              </a:rPr>
              <a:t>""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 : </a:t>
            </a:r>
            <a:r>
              <a:rPr lang="en-US" sz="1200" dirty="0" err="1">
                <a:solidFill>
                  <a:srgbClr val="6A3E3E"/>
                </a:solidFill>
                <a:latin typeface="Consolas" panose="020B0609020204030204" pitchFamily="49" charset="0"/>
              </a:rPr>
              <a:t>i</a:t>
            </a:r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))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    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</a:p>
          <a:p>
            <a:pPr algn="l"/>
            <a:endParaRPr lang="en-US" sz="1200" dirty="0">
              <a:latin typeface="Consolas" panose="020B0609020204030204" pitchFamily="49" charset="0"/>
            </a:endParaRP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static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>
                <a:solidFill>
                  <a:srgbClr val="7F0055"/>
                </a:solidFill>
                <a:latin typeface="Consolas" panose="020B0609020204030204" pitchFamily="49" charset="0"/>
              </a:rPr>
              <a:t>void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latin typeface="Consolas" panose="020B0609020204030204" pitchFamily="49" charset="0"/>
              </a:rPr>
              <a:t>println_seam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(Object </a:t>
            </a:r>
            <a:r>
              <a:rPr lang="en-US" sz="1200" b="1" dirty="0">
                <a:solidFill>
                  <a:srgbClr val="6A3E3E"/>
                </a:solidFill>
                <a:latin typeface="Consolas" panose="020B0609020204030204" pitchFamily="49" charset="0"/>
              </a:rPr>
              <a:t>message</a:t>
            </a:r>
            <a:r>
              <a:rPr lang="en-US" sz="1200" b="1" dirty="0">
                <a:solidFill>
                  <a:srgbClr val="000000"/>
                </a:solidFill>
                <a:latin typeface="Consolas" panose="020B0609020204030204" pitchFamily="49" charset="0"/>
              </a:rPr>
              <a:t>) {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    </a:t>
            </a:r>
            <a:r>
              <a:rPr lang="en-US" sz="1200" dirty="0" err="1">
                <a:solidFill>
                  <a:srgbClr val="000000"/>
                </a:solidFill>
                <a:latin typeface="Consolas" panose="020B0609020204030204" pitchFamily="49" charset="0"/>
              </a:rPr>
              <a:t>System.</a:t>
            </a:r>
            <a:r>
              <a:rPr lang="en-US" sz="1200" b="1" i="1" dirty="0" err="1">
                <a:solidFill>
                  <a:srgbClr val="0000C0"/>
                </a:solidFill>
                <a:latin typeface="Consolas" panose="020B0609020204030204" pitchFamily="49" charset="0"/>
              </a:rPr>
              <a:t>out</a:t>
            </a:r>
            <a:r>
              <a:rPr lang="en-US" sz="1200" b="1" i="1" dirty="0" err="1">
                <a:solidFill>
                  <a:srgbClr val="000000"/>
                </a:solidFill>
                <a:latin typeface="Consolas" panose="020B0609020204030204" pitchFamily="49" charset="0"/>
              </a:rPr>
              <a:t>.println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(</a:t>
            </a:r>
            <a:r>
              <a:rPr lang="en-US" sz="1200" b="1" i="1" dirty="0">
                <a:solidFill>
                  <a:srgbClr val="6A3E3E"/>
                </a:solidFill>
                <a:latin typeface="Consolas" panose="020B0609020204030204" pitchFamily="49" charset="0"/>
              </a:rPr>
              <a:t>message</a:t>
            </a:r>
            <a:r>
              <a:rPr lang="en-US" sz="1200" b="1" i="1" dirty="0">
                <a:solidFill>
                  <a:srgbClr val="000000"/>
                </a:solidFill>
                <a:latin typeface="Consolas" panose="020B0609020204030204" pitchFamily="49" charset="0"/>
              </a:rPr>
              <a:t>);</a:t>
            </a:r>
          </a:p>
          <a:p>
            <a:pPr algn="l"/>
            <a:r>
              <a:rPr lang="en-US" sz="1200" dirty="0">
                <a:solidFill>
                  <a:srgbClr val="000000"/>
                </a:solidFill>
                <a:latin typeface="Consolas" panose="020B0609020204030204" pitchFamily="49" charset="0"/>
              </a:rPr>
              <a:t>    }</a:t>
            </a:r>
            <a:endParaRPr lang="en-US" sz="1000" dirty="0">
              <a:solidFill>
                <a:srgbClr val="000000"/>
              </a:solidFill>
              <a:latin typeface="Consolas" panose="020B0609020204030204" pitchFamily="49" charset="0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26372CBF-4629-4C2C-A98A-B26D5A2DC414}"/>
              </a:ext>
            </a:extLst>
          </p:cNvPr>
          <p:cNvSpPr txBox="1">
            <a:spLocks/>
          </p:cNvSpPr>
          <p:nvPr/>
        </p:nvSpPr>
        <p:spPr>
          <a:xfrm>
            <a:off x="6659640" y="4147127"/>
            <a:ext cx="5193270" cy="2022655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marR="0" indent="0" algn="l" defTabSz="720725" rtl="0" hangingPunct="0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tabLst/>
              <a:defRPr lang="de-DE" sz="1800" b="0" i="0" u="none" strike="noStrike" baseline="0">
                <a:ln>
                  <a:noFill/>
                </a:ln>
                <a:solidFill>
                  <a:schemeClr val="accent2"/>
                </a:solidFill>
                <a:latin typeface="Arial" pitchFamily="18"/>
                <a:cs typeface="Arial" pitchFamily="18"/>
              </a:defRPr>
            </a:lvl1pPr>
            <a:lvl2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3571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7143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87"/>
              </a:spcAft>
              <a:buFont typeface="Symbol" panose="05050102010706020507" pitchFamily="18" charset="2"/>
              <a:buChar char="·"/>
              <a:defRPr sz="1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Seams</a:t>
            </a:r>
            <a:r>
              <a:rPr lang="de-DE" kern="0" dirty="0"/>
              <a:t> sind häufig </a:t>
            </a:r>
            <a:r>
              <a:rPr lang="en-US" sz="1800" b="1" dirty="0">
                <a:solidFill>
                  <a:srgbClr val="7F0055"/>
                </a:solidFill>
                <a:latin typeface="Consolas" panose="020B0609020204030204" pitchFamily="49" charset="0"/>
              </a:rPr>
              <a:t>public</a:t>
            </a:r>
            <a:r>
              <a:rPr lang="de-DE" kern="0" dirty="0"/>
              <a:t> oder </a:t>
            </a:r>
            <a:r>
              <a:rPr lang="en-US" sz="1800" b="1" dirty="0">
                <a:solidFill>
                  <a:srgbClr val="7F0055"/>
                </a:solidFill>
                <a:latin typeface="Consolas" panose="020B0609020204030204" pitchFamily="49" charset="0"/>
              </a:rPr>
              <a:t>protec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Seams</a:t>
            </a:r>
            <a:r>
              <a:rPr lang="de-DE" kern="0" dirty="0"/>
              <a:t> sind ein erster Schritt in Richtung </a:t>
            </a:r>
            <a:r>
              <a:rPr lang="de-DE" b="1" kern="0" dirty="0" err="1"/>
              <a:t>dependency</a:t>
            </a:r>
            <a:r>
              <a:rPr lang="de-DE" b="1" kern="0" dirty="0"/>
              <a:t> </a:t>
            </a:r>
            <a:r>
              <a:rPr lang="de-DE" b="1" kern="0" dirty="0" err="1"/>
              <a:t>breaking</a:t>
            </a:r>
            <a:endParaRPr lang="de-DE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kern="0" dirty="0" err="1"/>
              <a:t>Seams</a:t>
            </a:r>
            <a:r>
              <a:rPr lang="de-DE" kern="0" dirty="0"/>
              <a:t> sind ein erster Schritt in Richtung </a:t>
            </a:r>
            <a:r>
              <a:rPr lang="de-DE" b="1" kern="0" dirty="0" err="1"/>
              <a:t>redesign</a:t>
            </a:r>
            <a:endParaRPr lang="de-DE" b="1" kern="0" dirty="0"/>
          </a:p>
        </p:txBody>
      </p:sp>
    </p:spTree>
    <p:extLst>
      <p:ext uri="{BB962C8B-B14F-4D97-AF65-F5344CB8AC3E}">
        <p14:creationId xmlns:p14="http://schemas.microsoft.com/office/powerpoint/2010/main" val="2058096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wo_biZO4OxAPGBWTiQk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VXNswkVG7ghES5Rv7h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2poxOtr4f4nmyfofb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simOOptQvFZSax.VA1v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GaXEb3Bq7EY44E4sLq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bBgKMiyObC0eV21ZoY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hOlRdi0YuEdKJQWmP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.pqi8yBIaqlRj7k9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jb.5rRWwlzK2KEt8D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Pscs3c2_edoADRKSL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KhnOck1fGNby229hJj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0HcEGmkDn6jd7Kzr7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CMG8KKupQGP_EERvpU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uewKKuIuUV3QNpO.Hz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6ghJqZK4Ozds4ZoN_9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db1h66l4dkN2nzgUF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igmrMIEo66wSRkl3lOk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JeBhNNsI0LtZkxGdg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N0reOf37TVOJpBFTSl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j7gC6yKGbde9T36xds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 @ CAM Master">
  <a:themeElements>
    <a:clrScheme name="Custom 68">
      <a:dk1>
        <a:srgbClr val="000000"/>
      </a:dk1>
      <a:lt1>
        <a:sysClr val="window" lastClr="FFFFFF"/>
      </a:lt1>
      <a:dk2>
        <a:srgbClr val="E4E3DF"/>
      </a:dk2>
      <a:lt2>
        <a:srgbClr val="D9CED1"/>
      </a:lt2>
      <a:accent1>
        <a:srgbClr val="D9CED1"/>
      </a:accent1>
      <a:accent2>
        <a:srgbClr val="4B323E"/>
      </a:accent2>
      <a:accent3>
        <a:srgbClr val="E4E3DF"/>
      </a:accent3>
      <a:accent4>
        <a:srgbClr val="A08570"/>
      </a:accent4>
      <a:accent5>
        <a:srgbClr val="3C3C3C"/>
      </a:accent5>
      <a:accent6>
        <a:srgbClr val="FF7A7D"/>
      </a:accent6>
      <a:hlink>
        <a:srgbClr val="000000"/>
      </a:hlink>
      <a:folHlink>
        <a:srgbClr val="000000"/>
      </a:folHlink>
    </a:clrScheme>
    <a:fontScheme name="PT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 algn="l">
          <a:buFont typeface="Symbol" panose="05050102010706020507" pitchFamily="18" charset="2"/>
          <a:buChar char="·"/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548</Words>
  <Application>Microsoft Office PowerPoint</Application>
  <PresentationFormat>Benutzerdefiniert</PresentationFormat>
  <Paragraphs>1212</Paragraphs>
  <Slides>6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68" baseType="lpstr">
      <vt:lpstr>Arial</vt:lpstr>
      <vt:lpstr>Calibri</vt:lpstr>
      <vt:lpstr>Consolas</vt:lpstr>
      <vt:lpstr>Courier New</vt:lpstr>
      <vt:lpstr>Symbol</vt:lpstr>
      <vt:lpstr>Times New Roman</vt:lpstr>
      <vt:lpstr>2019 @ CAM Master</vt:lpstr>
      <vt:lpstr>think-cell Folie</vt:lpstr>
      <vt:lpstr>PowerPoint-Präsentation</vt:lpstr>
      <vt:lpstr>Was brauche ich damit ich code verbessern kann?</vt:lpstr>
      <vt:lpstr>Sicherheitsnetz</vt:lpstr>
      <vt:lpstr>Zur Erinnerung – ein einfacher unit-test</vt:lpstr>
      <vt:lpstr>Sicherheitsnetz in komplexen legacy systemen</vt:lpstr>
      <vt:lpstr>Golden master</vt:lpstr>
      <vt:lpstr>Einfacher Golden master – Fizz Buzz</vt:lpstr>
      <vt:lpstr>Was sind seams?</vt:lpstr>
      <vt:lpstr>Ein Einfacher Seam</vt:lpstr>
      <vt:lpstr>Seams und Golden master</vt:lpstr>
      <vt:lpstr>Seams und deren Verwendung in Unittest</vt:lpstr>
      <vt:lpstr>Key points</vt:lpstr>
      <vt:lpstr>Pattern</vt:lpstr>
      <vt:lpstr>Pattern: Long method</vt:lpstr>
      <vt:lpstr>refactoring: extract method</vt:lpstr>
      <vt:lpstr>Extract method</vt:lpstr>
      <vt:lpstr>Pattern: Extract class</vt:lpstr>
      <vt:lpstr>Extract Classes</vt:lpstr>
      <vt:lpstr>Was ist feature Envy?</vt:lpstr>
      <vt:lpstr>Feature envy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Feature envy auflösen</vt:lpstr>
      <vt:lpstr>Code Coverage</vt:lpstr>
      <vt:lpstr>Was ist Code Coverage?</vt:lpstr>
      <vt:lpstr>Einfache Code Coverage</vt:lpstr>
      <vt:lpstr>Schreibe einen Unittest mithilfe von Code Coverage</vt:lpstr>
      <vt:lpstr>Refactoring mithilfe von Code Coverage</vt:lpstr>
      <vt:lpstr>Vorgehen, Vorteile und Nachteile</vt:lpstr>
      <vt:lpstr>Wie gut ist unsere test suite?</vt:lpstr>
      <vt:lpstr>Mutation testing</vt:lpstr>
      <vt:lpstr>Alles Zusammen</vt:lpstr>
      <vt:lpstr>Gilded Rose</vt:lpstr>
      <vt:lpstr>Denkanstösse</vt:lpstr>
      <vt:lpstr>GIT: merge, rebase und squash commit</vt:lpstr>
      <vt:lpstr>Sicherheitsnetz mit einer Fassade (Ziel: refactoring/redesign)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ing with legacy code</dc:title>
  <dc:creator>WM</dc:creator>
  <cp:lastModifiedBy>Michael Mai</cp:lastModifiedBy>
  <cp:revision>266</cp:revision>
  <dcterms:created xsi:type="dcterms:W3CDTF">2019-07-01T16:47:04Z</dcterms:created>
  <dcterms:modified xsi:type="dcterms:W3CDTF">2021-07-03T09:54:44Z</dcterms:modified>
</cp:coreProperties>
</file>